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3602" r:id="rId5"/>
    <p:sldId id="3578" r:id="rId6"/>
    <p:sldId id="435" r:id="rId7"/>
    <p:sldId id="3603" r:id="rId8"/>
    <p:sldId id="3511" r:id="rId9"/>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ABB19778-6330-41D9-913D-CD3F3C1C5A68}">
          <p14:sldIdLst>
            <p14:sldId id="3602"/>
            <p14:sldId id="3578"/>
            <p14:sldId id="435"/>
            <p14:sldId id="3603"/>
            <p14:sldId id="3511"/>
          </p14:sldIdLst>
        </p14:section>
        <p14:section name="Backup" id="{38C8179E-7184-4119-BB6A-AE0B01C574CF}">
          <p14:sldIdLst/>
        </p14:section>
        <p14:section name="Add-on" id="{0A333A4E-A0A1-4013-9223-C275F9C8690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öbarth Juliane" initials="HJ" lastIdx="15" clrIdx="0">
    <p:extLst>
      <p:ext uri="{19B8F6BF-5375-455C-9EA6-DF929625EA0E}">
        <p15:presenceInfo xmlns:p15="http://schemas.microsoft.com/office/powerpoint/2012/main" userId="S::Hoebarth@kapsch.net::9838b7b6-6df1-4313-ae0e-8b5b23e861a8" providerId="AD"/>
      </p:ext>
    </p:extLst>
  </p:cmAuthor>
  <p:cmAuthor id="2" name="Rynesch Katharina" initials="RK" lastIdx="1" clrIdx="1">
    <p:extLst>
      <p:ext uri="{19B8F6BF-5375-455C-9EA6-DF929625EA0E}">
        <p15:presenceInfo xmlns:p15="http://schemas.microsoft.com/office/powerpoint/2012/main" userId="S::kaes@kapsch.net::72e6ee43-c6bf-40db-bd42-77b4a8387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08080"/>
    <a:srgbClr val="B2B2B2"/>
    <a:srgbClr val="3C3C3B"/>
    <a:srgbClr val="EDEDED"/>
    <a:srgbClr val="FFE7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738"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nesch Katharina" userId="72e6ee43-c6bf-40db-bd42-77b4a8387895" providerId="ADAL" clId="{F958B752-F557-4051-A4B5-88F67A28B38D}"/>
    <pc:docChg chg="delSld modSld modSection">
      <pc:chgData name="Rynesch Katharina" userId="72e6ee43-c6bf-40db-bd42-77b4a8387895" providerId="ADAL" clId="{F958B752-F557-4051-A4B5-88F67A28B38D}" dt="2022-11-21T15:41:47.408" v="6" actId="47"/>
      <pc:docMkLst>
        <pc:docMk/>
      </pc:docMkLst>
      <pc:sldChg chg="del">
        <pc:chgData name="Rynesch Katharina" userId="72e6ee43-c6bf-40db-bd42-77b4a8387895" providerId="ADAL" clId="{F958B752-F557-4051-A4B5-88F67A28B38D}" dt="2022-11-21T15:41:47.408" v="6" actId="47"/>
        <pc:sldMkLst>
          <pc:docMk/>
          <pc:sldMk cId="1017491315" sldId="3513"/>
        </pc:sldMkLst>
      </pc:sldChg>
      <pc:sldChg chg="del">
        <pc:chgData name="Rynesch Katharina" userId="72e6ee43-c6bf-40db-bd42-77b4a8387895" providerId="ADAL" clId="{F958B752-F557-4051-A4B5-88F67A28B38D}" dt="2022-11-21T15:41:47.408" v="6" actId="47"/>
        <pc:sldMkLst>
          <pc:docMk/>
          <pc:sldMk cId="2706438993" sldId="3556"/>
        </pc:sldMkLst>
      </pc:sldChg>
      <pc:sldChg chg="del">
        <pc:chgData name="Rynesch Katharina" userId="72e6ee43-c6bf-40db-bd42-77b4a8387895" providerId="ADAL" clId="{F958B752-F557-4051-A4B5-88F67A28B38D}" dt="2022-11-21T15:41:47.408" v="6" actId="47"/>
        <pc:sldMkLst>
          <pc:docMk/>
          <pc:sldMk cId="1253642334" sldId="3566"/>
        </pc:sldMkLst>
      </pc:sldChg>
      <pc:sldChg chg="del">
        <pc:chgData name="Rynesch Katharina" userId="72e6ee43-c6bf-40db-bd42-77b4a8387895" providerId="ADAL" clId="{F958B752-F557-4051-A4B5-88F67A28B38D}" dt="2022-11-21T15:41:47.408" v="6" actId="47"/>
        <pc:sldMkLst>
          <pc:docMk/>
          <pc:sldMk cId="1659053707" sldId="3567"/>
        </pc:sldMkLst>
      </pc:sldChg>
      <pc:sldChg chg="modSp mod">
        <pc:chgData name="Rynesch Katharina" userId="72e6ee43-c6bf-40db-bd42-77b4a8387895" providerId="ADAL" clId="{F958B752-F557-4051-A4B5-88F67A28B38D}" dt="2022-11-21T15:41:15.771" v="5" actId="20577"/>
        <pc:sldMkLst>
          <pc:docMk/>
          <pc:sldMk cId="1535137799" sldId="3578"/>
        </pc:sldMkLst>
        <pc:spChg chg="mod">
          <ac:chgData name="Rynesch Katharina" userId="72e6ee43-c6bf-40db-bd42-77b4a8387895" providerId="ADAL" clId="{F958B752-F557-4051-A4B5-88F67A28B38D}" dt="2022-11-21T15:41:15.771" v="5" actId="20577"/>
          <ac:spMkLst>
            <pc:docMk/>
            <pc:sldMk cId="1535137799" sldId="3578"/>
            <ac:spMk id="14" creationId="{BEC21878-1215-4956-9209-992D5B1C7738}"/>
          </ac:spMkLst>
        </pc:spChg>
        <pc:spChg chg="mod">
          <ac:chgData name="Rynesch Katharina" userId="72e6ee43-c6bf-40db-bd42-77b4a8387895" providerId="ADAL" clId="{F958B752-F557-4051-A4B5-88F67A28B38D}" dt="2022-11-21T15:41:00.856" v="0" actId="403"/>
          <ac:spMkLst>
            <pc:docMk/>
            <pc:sldMk cId="1535137799" sldId="3578"/>
            <ac:spMk id="22" creationId="{09F1134B-FC9C-431A-B322-1E7907F7564A}"/>
          </ac:spMkLst>
        </pc:spChg>
      </pc:sldChg>
      <pc:sldChg chg="del">
        <pc:chgData name="Rynesch Katharina" userId="72e6ee43-c6bf-40db-bd42-77b4a8387895" providerId="ADAL" clId="{F958B752-F557-4051-A4B5-88F67A28B38D}" dt="2022-11-21T15:41:47.408" v="6" actId="47"/>
        <pc:sldMkLst>
          <pc:docMk/>
          <pc:sldMk cId="3727800969" sldId="3580"/>
        </pc:sldMkLst>
      </pc:sldChg>
      <pc:sldMasterChg chg="delSldLayout">
        <pc:chgData name="Rynesch Katharina" userId="72e6ee43-c6bf-40db-bd42-77b4a8387895" providerId="ADAL" clId="{F958B752-F557-4051-A4B5-88F67A28B38D}" dt="2022-11-21T15:41:47.408" v="6" actId="47"/>
        <pc:sldMasterMkLst>
          <pc:docMk/>
          <pc:sldMasterMk cId="259861064" sldId="2147483648"/>
        </pc:sldMasterMkLst>
        <pc:sldLayoutChg chg="del">
          <pc:chgData name="Rynesch Katharina" userId="72e6ee43-c6bf-40db-bd42-77b4a8387895" providerId="ADAL" clId="{F958B752-F557-4051-A4B5-88F67A28B38D}" dt="2022-11-21T15:41:47.408" v="6" actId="47"/>
          <pc:sldLayoutMkLst>
            <pc:docMk/>
            <pc:sldMasterMk cId="259861064" sldId="2147483648"/>
            <pc:sldLayoutMk cId="2136009081" sldId="2147483700"/>
          </pc:sldLayoutMkLst>
        </pc:sldLayoutChg>
      </pc:sldMaster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2479" y="751392"/>
            <a:ext cx="4707670" cy="358068"/>
          </a:xfrm>
          <a:prstGeom prst="rect">
            <a:avLst/>
          </a:prstGeom>
        </p:spPr>
        <p:txBody>
          <a:bodyPr vert="horz" lIns="0" tIns="0" rIns="0" bIns="0" rtlCol="0" anchor="t" anchorCtr="0"/>
          <a:lstStyle>
            <a:lvl1pPr algn="l">
              <a:defRPr sz="1200"/>
            </a:lvl1pPr>
          </a:lstStyle>
          <a:p>
            <a:endParaRPr lang="de-DE" b="1" i="1"/>
          </a:p>
        </p:txBody>
      </p:sp>
      <p:sp>
        <p:nvSpPr>
          <p:cNvPr id="4" name="Fußzeilenplatzhalter 3"/>
          <p:cNvSpPr>
            <a:spLocks noGrp="1"/>
          </p:cNvSpPr>
          <p:nvPr>
            <p:ph type="ftr" sz="quarter" idx="2"/>
          </p:nvPr>
        </p:nvSpPr>
        <p:spPr>
          <a:xfrm>
            <a:off x="472479" y="260042"/>
            <a:ext cx="4639349" cy="234488"/>
          </a:xfrm>
          <a:prstGeom prst="rect">
            <a:avLst/>
          </a:prstGeom>
        </p:spPr>
        <p:txBody>
          <a:bodyPr vert="horz" lIns="0" tIns="0" rIns="0" bIns="0" rtlCol="0" anchor="ctr"/>
          <a:lstStyle>
            <a:lvl1pPr algn="l">
              <a:defRPr sz="1200"/>
            </a:lvl1pPr>
          </a:lstStyle>
          <a:p>
            <a:pPr algn="r"/>
            <a:endParaRPr lang="de-DE" sz="900" i="1"/>
          </a:p>
        </p:txBody>
      </p:sp>
      <p:sp>
        <p:nvSpPr>
          <p:cNvPr id="5" name="Foliennummernplatzhalter 4"/>
          <p:cNvSpPr>
            <a:spLocks noGrp="1"/>
          </p:cNvSpPr>
          <p:nvPr>
            <p:ph type="sldNum" sz="quarter" idx="3"/>
          </p:nvPr>
        </p:nvSpPr>
        <p:spPr>
          <a:xfrm>
            <a:off x="5254577" y="260042"/>
            <a:ext cx="285498" cy="234488"/>
          </a:xfrm>
          <a:prstGeom prst="rect">
            <a:avLst/>
          </a:prstGeom>
        </p:spPr>
        <p:txBody>
          <a:bodyPr vert="horz" lIns="0" tIns="0" rIns="0" bIns="0" rtlCol="0" anchor="ctr"/>
          <a:lstStyle>
            <a:lvl1pPr algn="r">
              <a:defRPr sz="1200"/>
            </a:lvl1pPr>
          </a:lstStyle>
          <a:p>
            <a:pPr algn="l"/>
            <a:fld id="{E5BBCCF6-F8A8-4C49-BF3D-CA1AA74CA975}" type="slidenum">
              <a:rPr lang="de-DE" sz="900" i="1" smtClean="0"/>
              <a:pPr algn="l"/>
              <a:t>‹Nr.›</a:t>
            </a:fld>
            <a:endParaRPr lang="de-DE" sz="900" i="1"/>
          </a:p>
        </p:txBody>
      </p:sp>
      <p:sp>
        <p:nvSpPr>
          <p:cNvPr id="7" name="Textplatzhalter 45">
            <a:extLst>
              <a:ext uri="{FF2B5EF4-FFF2-40B4-BE49-F238E27FC236}">
                <a16:creationId xmlns:a16="http://schemas.microsoft.com/office/drawing/2014/main" id="{7509F030-9FC3-4C3F-8B21-7750549F5227}"/>
              </a:ext>
            </a:extLst>
          </p:cNvPr>
          <p:cNvSpPr txBox="1">
            <a:spLocks/>
          </p:cNvSpPr>
          <p:nvPr userDrawn="1"/>
        </p:nvSpPr>
        <p:spPr>
          <a:xfrm>
            <a:off x="5610377" y="-31637"/>
            <a:ext cx="7137" cy="50024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9" name="Textplatzhalter 45">
            <a:extLst>
              <a:ext uri="{FF2B5EF4-FFF2-40B4-BE49-F238E27FC236}">
                <a16:creationId xmlns:a16="http://schemas.microsoft.com/office/drawing/2014/main" id="{E7E464C6-E19C-45A1-A0CF-32C0665F8BCA}"/>
              </a:ext>
            </a:extLst>
          </p:cNvPr>
          <p:cNvSpPr txBox="1">
            <a:spLocks/>
          </p:cNvSpPr>
          <p:nvPr userDrawn="1"/>
        </p:nvSpPr>
        <p:spPr>
          <a:xfrm>
            <a:off x="5180149" y="296645"/>
            <a:ext cx="7137" cy="171958"/>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11" name="Textplatzhalter 45">
            <a:extLst>
              <a:ext uri="{FF2B5EF4-FFF2-40B4-BE49-F238E27FC236}">
                <a16:creationId xmlns:a16="http://schemas.microsoft.com/office/drawing/2014/main" id="{9342D39B-F9C9-41A2-BBCC-AD211E7EF088}"/>
              </a:ext>
            </a:extLst>
          </p:cNvPr>
          <p:cNvSpPr txBox="1">
            <a:spLocks/>
          </p:cNvSpPr>
          <p:nvPr userDrawn="1"/>
        </p:nvSpPr>
        <p:spPr>
          <a:xfrm>
            <a:off x="5682825" y="306799"/>
            <a:ext cx="713746" cy="130414"/>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15" name="Datumsplatzhalter 2">
            <a:extLst>
              <a:ext uri="{FF2B5EF4-FFF2-40B4-BE49-F238E27FC236}">
                <a16:creationId xmlns:a16="http://schemas.microsoft.com/office/drawing/2014/main" id="{C6DDDDF1-504E-412B-BF64-B0B36E960284}"/>
              </a:ext>
            </a:extLst>
          </p:cNvPr>
          <p:cNvSpPr txBox="1">
            <a:spLocks/>
          </p:cNvSpPr>
          <p:nvPr/>
        </p:nvSpPr>
        <p:spPr>
          <a:xfrm>
            <a:off x="5588487" y="9262734"/>
            <a:ext cx="713667" cy="234488"/>
          </a:xfrm>
          <a:prstGeom prst="rect">
            <a:avLst/>
          </a:prstGeom>
        </p:spPr>
        <p:txBody>
          <a:bodyPr vert="horz" lIns="0" tIns="0" rIns="0" bIns="0" rtlCol="0" anchor="ctr"/>
          <a:lstStyle>
            <a:defPPr>
              <a:defRPr lang="de-DE"/>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20D358-F853-4E66-A71E-3A9A01236113}" type="datetimeFigureOut">
              <a:rPr lang="de-DE" sz="900" i="1" smtClean="0"/>
              <a:pPr/>
              <a:t>21.11.2022</a:t>
            </a:fld>
            <a:endParaRPr lang="de-DE" sz="900" i="1"/>
          </a:p>
        </p:txBody>
      </p:sp>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299" userDrawn="1">
          <p15:clr>
            <a:srgbClr val="F26B43"/>
          </p15:clr>
        </p15:guide>
        <p15:guide id="2" pos="3986" userDrawn="1">
          <p15:clr>
            <a:srgbClr val="F26B43"/>
          </p15:clr>
        </p15:guide>
        <p15:guide id="3" orient="horz" pos="473"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95263" y="1257300"/>
            <a:ext cx="6407150" cy="3605213"/>
          </a:xfrm>
          <a:prstGeom prst="rect">
            <a:avLst/>
          </a:prstGeom>
          <a:noFill/>
          <a:ln w="6350">
            <a:solidFill>
              <a:schemeClr val="accent3"/>
            </a:solidFill>
          </a:ln>
        </p:spPr>
        <p:txBody>
          <a:bodyPr vert="horz" lIns="91440" tIns="45720" rIns="91440" bIns="45720" rtlCol="0" anchor="ctr"/>
          <a:lstStyle/>
          <a:p>
            <a:r>
              <a:rPr lang="de-DE"/>
              <a:t> </a:t>
            </a:r>
          </a:p>
        </p:txBody>
      </p:sp>
      <p:sp>
        <p:nvSpPr>
          <p:cNvPr id="5" name="Notizenplatzhalter 4"/>
          <p:cNvSpPr>
            <a:spLocks noGrp="1"/>
          </p:cNvSpPr>
          <p:nvPr>
            <p:ph type="body" sz="quarter" idx="3"/>
          </p:nvPr>
        </p:nvSpPr>
        <p:spPr>
          <a:xfrm>
            <a:off x="472479" y="4986841"/>
            <a:ext cx="5852067" cy="4041380"/>
          </a:xfrm>
          <a:prstGeom prst="rect">
            <a:avLst/>
          </a:prstGeom>
        </p:spPr>
        <p:txBody>
          <a:bodyPr vert="horz" lIns="0" tIns="0" rIns="0" bIns="0" rtlCol="0"/>
          <a:lstStyle/>
          <a:p>
            <a:pPr lvl="0"/>
            <a:r>
              <a:rPr lang="de-DE"/>
              <a:t>Click </a:t>
            </a:r>
            <a:r>
              <a:rPr lang="de-DE" err="1"/>
              <a:t>to</a:t>
            </a:r>
            <a:r>
              <a:rPr lang="de-DE"/>
              <a:t> </a:t>
            </a:r>
            <a:r>
              <a:rPr lang="de-DE" err="1"/>
              <a:t>edit</a:t>
            </a:r>
            <a:r>
              <a:rPr lang="de-DE"/>
              <a:t> </a:t>
            </a:r>
            <a:r>
              <a:rPr lang="de-DE" err="1"/>
              <a:t>text</a:t>
            </a:r>
            <a:r>
              <a:rPr lang="de-DE"/>
              <a:t>. </a:t>
            </a:r>
          </a:p>
          <a:p>
            <a:pPr lvl="1"/>
            <a:r>
              <a:rPr lang="de-DE"/>
              <a:t>Level 2</a:t>
            </a:r>
          </a:p>
          <a:p>
            <a:pPr lvl="2"/>
            <a:r>
              <a:rPr lang="de-DE"/>
              <a:t>Level 3</a:t>
            </a:r>
          </a:p>
          <a:p>
            <a:pPr lvl="3"/>
            <a:r>
              <a:rPr lang="de-DE"/>
              <a:t>Level 4</a:t>
            </a:r>
          </a:p>
          <a:p>
            <a:pPr lvl="4"/>
            <a:r>
              <a:rPr lang="de-DE"/>
              <a:t>Level 5</a:t>
            </a:r>
          </a:p>
          <a:p>
            <a:pPr lvl="5"/>
            <a:r>
              <a:rPr lang="de-DE"/>
              <a:t>Level 6</a:t>
            </a:r>
          </a:p>
          <a:p>
            <a:pPr lvl="6"/>
            <a:r>
              <a:rPr lang="de-DE"/>
              <a:t>Level 7</a:t>
            </a:r>
          </a:p>
          <a:p>
            <a:pPr lvl="7"/>
            <a:r>
              <a:rPr lang="de-DE"/>
              <a:t>Level 8</a:t>
            </a:r>
          </a:p>
          <a:p>
            <a:pPr lvl="8"/>
            <a:r>
              <a:rPr lang="de-DE"/>
              <a:t>Level 9</a:t>
            </a:r>
          </a:p>
        </p:txBody>
      </p:sp>
      <p:sp>
        <p:nvSpPr>
          <p:cNvPr id="8" name="Kopfzeilenplatzhalter 1"/>
          <p:cNvSpPr>
            <a:spLocks noGrp="1"/>
          </p:cNvSpPr>
          <p:nvPr>
            <p:ph type="hdr" sz="quarter"/>
          </p:nvPr>
        </p:nvSpPr>
        <p:spPr>
          <a:xfrm>
            <a:off x="472479" y="745688"/>
            <a:ext cx="4714807" cy="387242"/>
          </a:xfrm>
          <a:prstGeom prst="rect">
            <a:avLst/>
          </a:prstGeom>
        </p:spPr>
        <p:txBody>
          <a:bodyPr vert="horz" lIns="0" tIns="0" rIns="0" bIns="0" rtlCol="0" anchor="t" anchorCtr="0"/>
          <a:lstStyle>
            <a:lvl1pPr algn="l">
              <a:defRPr sz="1200" b="1" i="1"/>
            </a:lvl1pPr>
          </a:lstStyle>
          <a:p>
            <a:endParaRPr lang="de-DE"/>
          </a:p>
        </p:txBody>
      </p:sp>
      <p:sp>
        <p:nvSpPr>
          <p:cNvPr id="9" name="Datumsplatzhalter 2"/>
          <p:cNvSpPr>
            <a:spLocks noGrp="1"/>
          </p:cNvSpPr>
          <p:nvPr>
            <p:ph type="dt" sz="quarter" idx="1"/>
          </p:nvPr>
        </p:nvSpPr>
        <p:spPr>
          <a:xfrm>
            <a:off x="5611450" y="9262734"/>
            <a:ext cx="713667" cy="234488"/>
          </a:xfrm>
          <a:prstGeom prst="rect">
            <a:avLst/>
          </a:prstGeom>
        </p:spPr>
        <p:txBody>
          <a:bodyPr vert="horz" lIns="0" tIns="0" rIns="0" bIns="0" rtlCol="0" anchor="ctr"/>
          <a:lstStyle>
            <a:lvl1pPr algn="r">
              <a:defRPr sz="900" i="1"/>
            </a:lvl1pPr>
          </a:lstStyle>
          <a:p>
            <a:fld id="{5320D358-F853-4E66-A71E-3A9A01236113}" type="datetimeFigureOut">
              <a:rPr lang="de-DE" smtClean="0"/>
              <a:pPr/>
              <a:t>21.11.2022</a:t>
            </a:fld>
            <a:endParaRPr lang="de-DE" i="1"/>
          </a:p>
        </p:txBody>
      </p:sp>
      <p:sp>
        <p:nvSpPr>
          <p:cNvPr id="10" name="Fußzeilenplatzhalter 3"/>
          <p:cNvSpPr>
            <a:spLocks noGrp="1"/>
          </p:cNvSpPr>
          <p:nvPr>
            <p:ph type="ftr" sz="quarter" idx="4"/>
          </p:nvPr>
        </p:nvSpPr>
        <p:spPr>
          <a:xfrm>
            <a:off x="472479" y="266965"/>
            <a:ext cx="4639349" cy="234488"/>
          </a:xfrm>
          <a:prstGeom prst="rect">
            <a:avLst/>
          </a:prstGeom>
        </p:spPr>
        <p:txBody>
          <a:bodyPr vert="horz" lIns="0" tIns="0" rIns="0" bIns="0" rtlCol="0" anchor="ctr"/>
          <a:lstStyle>
            <a:lvl1pPr algn="l">
              <a:defRPr sz="900" i="1"/>
            </a:lvl1pPr>
          </a:lstStyle>
          <a:p>
            <a:pPr algn="r"/>
            <a:endParaRPr lang="de-DE" i="1"/>
          </a:p>
        </p:txBody>
      </p:sp>
      <p:sp>
        <p:nvSpPr>
          <p:cNvPr id="11" name="Foliennummernplatzhalter 4"/>
          <p:cNvSpPr>
            <a:spLocks noGrp="1"/>
          </p:cNvSpPr>
          <p:nvPr>
            <p:ph type="sldNum" sz="quarter" idx="5"/>
          </p:nvPr>
        </p:nvSpPr>
        <p:spPr>
          <a:xfrm>
            <a:off x="5261729" y="266965"/>
            <a:ext cx="278347" cy="234488"/>
          </a:xfrm>
          <a:prstGeom prst="rect">
            <a:avLst/>
          </a:prstGeom>
        </p:spPr>
        <p:txBody>
          <a:bodyPr vert="horz" lIns="0" tIns="0" rIns="0" bIns="0" rtlCol="0" anchor="ctr"/>
          <a:lstStyle>
            <a:lvl1pPr algn="l">
              <a:defRPr sz="900"/>
            </a:lvl1pPr>
          </a:lstStyle>
          <a:p>
            <a:pPr algn="l"/>
            <a:fld id="{E5BBCCF6-F8A8-4C49-BF3D-CA1AA74CA975}" type="slidenum">
              <a:rPr lang="de-DE" smtClean="0"/>
              <a:pPr algn="l"/>
              <a:t>‹Nr.›</a:t>
            </a:fld>
            <a:endParaRPr lang="de-DE"/>
          </a:p>
        </p:txBody>
      </p:sp>
      <p:sp>
        <p:nvSpPr>
          <p:cNvPr id="13" name="Textplatzhalter 45">
            <a:extLst>
              <a:ext uri="{FF2B5EF4-FFF2-40B4-BE49-F238E27FC236}">
                <a16:creationId xmlns:a16="http://schemas.microsoft.com/office/drawing/2014/main" id="{F70F07DF-F2BC-435C-A265-FF43A54EB75E}"/>
              </a:ext>
            </a:extLst>
          </p:cNvPr>
          <p:cNvSpPr txBox="1">
            <a:spLocks/>
          </p:cNvSpPr>
          <p:nvPr/>
        </p:nvSpPr>
        <p:spPr>
          <a:xfrm>
            <a:off x="5610377" y="-31637"/>
            <a:ext cx="7137" cy="50024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14" name="Textplatzhalter 45">
            <a:extLst>
              <a:ext uri="{FF2B5EF4-FFF2-40B4-BE49-F238E27FC236}">
                <a16:creationId xmlns:a16="http://schemas.microsoft.com/office/drawing/2014/main" id="{EE1F86C6-0905-4A5F-A961-019C38F47375}"/>
              </a:ext>
            </a:extLst>
          </p:cNvPr>
          <p:cNvSpPr txBox="1">
            <a:spLocks/>
          </p:cNvSpPr>
          <p:nvPr/>
        </p:nvSpPr>
        <p:spPr>
          <a:xfrm>
            <a:off x="5180149" y="296645"/>
            <a:ext cx="7137" cy="171958"/>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15" name="Textplatzhalter 45">
            <a:extLst>
              <a:ext uri="{FF2B5EF4-FFF2-40B4-BE49-F238E27FC236}">
                <a16:creationId xmlns:a16="http://schemas.microsoft.com/office/drawing/2014/main" id="{A96759DF-017A-4CAE-9F9C-3BF4D9360D9F}"/>
              </a:ext>
            </a:extLst>
          </p:cNvPr>
          <p:cNvSpPr txBox="1">
            <a:spLocks/>
          </p:cNvSpPr>
          <p:nvPr/>
        </p:nvSpPr>
        <p:spPr>
          <a:xfrm>
            <a:off x="5682825" y="306799"/>
            <a:ext cx="713746" cy="130414"/>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Bef>
        <a:spcPts val="400"/>
      </a:spcBef>
      <a:spcAft>
        <a:spcPts val="400"/>
      </a:spcAft>
      <a:defRPr sz="1100" b="0" kern="1200">
        <a:solidFill>
          <a:schemeClr val="tx1"/>
        </a:solidFill>
        <a:latin typeface="+mn-lt"/>
        <a:ea typeface="+mn-ea"/>
        <a:cs typeface="+mn-cs"/>
      </a:defRPr>
    </a:lvl1pPr>
    <a:lvl2pPr marL="0" algn="l" defTabSz="914400" rtl="0" eaLnBrk="1" latinLnBrk="0" hangingPunct="1">
      <a:lnSpc>
        <a:spcPct val="110000"/>
      </a:lnSpc>
      <a:spcBef>
        <a:spcPts val="800"/>
      </a:spcBef>
      <a:spcAft>
        <a:spcPts val="400"/>
      </a:spcAft>
      <a:defRPr sz="1100" b="1" i="1" kern="1200">
        <a:solidFill>
          <a:schemeClr val="tx1"/>
        </a:solidFill>
        <a:latin typeface="+mj-lt"/>
        <a:ea typeface="+mn-ea"/>
        <a:cs typeface="+mn-cs"/>
      </a:defRPr>
    </a:lvl2pPr>
    <a:lvl3pPr marL="144000" indent="-144000" algn="l" defTabSz="914400" rtl="0" eaLnBrk="1" latinLnBrk="0" hangingPunct="1">
      <a:lnSpc>
        <a:spcPct val="110000"/>
      </a:lnSpc>
      <a:spcBef>
        <a:spcPts val="400"/>
      </a:spcBef>
      <a:spcAft>
        <a:spcPts val="100"/>
      </a:spcAft>
      <a:buClr>
        <a:schemeClr val="tx2"/>
      </a:buClr>
      <a:buFont typeface="Wingdings 2" panose="05020102010507070707" pitchFamily="18" charset="2"/>
      <a:buChar char="¡"/>
      <a:defRPr sz="1100" kern="1200">
        <a:solidFill>
          <a:schemeClr val="tx1"/>
        </a:solidFill>
        <a:latin typeface="+mn-lt"/>
        <a:ea typeface="+mn-ea"/>
        <a:cs typeface="+mn-cs"/>
      </a:defRPr>
    </a:lvl3pPr>
    <a:lvl4pPr marL="288000" indent="-144000" algn="l" defTabSz="914400" rtl="0" eaLnBrk="1" latinLnBrk="0" hangingPunct="1">
      <a:lnSpc>
        <a:spcPct val="110000"/>
      </a:lnSpc>
      <a:spcBef>
        <a:spcPts val="100"/>
      </a:spcBef>
      <a:spcAft>
        <a:spcPts val="100"/>
      </a:spcAft>
      <a:buClr>
        <a:schemeClr val="bg1">
          <a:lumMod val="50000"/>
        </a:schemeClr>
      </a:buClr>
      <a:buFont typeface="Wingdings 2" panose="05020102010507070707" pitchFamily="18" charset="2"/>
      <a:buChar char="¡"/>
      <a:defRPr sz="1100" kern="1200">
        <a:solidFill>
          <a:schemeClr val="tx1"/>
        </a:solidFill>
        <a:latin typeface="+mn-lt"/>
        <a:ea typeface="+mn-ea"/>
        <a:cs typeface="+mn-cs"/>
      </a:defRPr>
    </a:lvl4pPr>
    <a:lvl5pPr marL="432000" indent="-144000" algn="l" defTabSz="914400" rtl="0" eaLnBrk="1" latinLnBrk="0" hangingPunct="1">
      <a:lnSpc>
        <a:spcPct val="110000"/>
      </a:lnSpc>
      <a:spcBef>
        <a:spcPts val="100"/>
      </a:spcBef>
      <a:spcAft>
        <a:spcPts val="100"/>
      </a:spcAft>
      <a:buClr>
        <a:schemeClr val="bg1">
          <a:lumMod val="65000"/>
        </a:schemeClr>
      </a:buClr>
      <a:buFont typeface="Wingdings 2" panose="05020102010507070707" pitchFamily="18" charset="2"/>
      <a:buChar char="¡"/>
      <a:defRPr sz="1000" kern="1200">
        <a:solidFill>
          <a:schemeClr val="tx1"/>
        </a:solidFill>
        <a:latin typeface="+mn-lt"/>
        <a:ea typeface="+mn-ea"/>
        <a:cs typeface="+mn-cs"/>
      </a:defRPr>
    </a:lvl5pPr>
    <a:lvl6pPr marL="576000" indent="-144000" algn="l" defTabSz="914400" rtl="0" eaLnBrk="1" latinLnBrk="0" hangingPunct="1">
      <a:lnSpc>
        <a:spcPct val="110000"/>
      </a:lnSpc>
      <a:spcBef>
        <a:spcPts val="100"/>
      </a:spcBef>
      <a:spcAft>
        <a:spcPts val="100"/>
      </a:spcAft>
      <a:buClr>
        <a:schemeClr val="bg1">
          <a:lumMod val="75000"/>
        </a:schemeClr>
      </a:buClr>
      <a:buFont typeface="Wingdings 2" panose="05020102010507070707" pitchFamily="18" charset="2"/>
      <a:buChar char="¡"/>
      <a:defRPr sz="1000" kern="1200">
        <a:solidFill>
          <a:schemeClr val="tx1"/>
        </a:solidFill>
        <a:latin typeface="+mn-lt"/>
        <a:ea typeface="+mn-ea"/>
        <a:cs typeface="+mn-cs"/>
      </a:defRPr>
    </a:lvl6pPr>
    <a:lvl7pPr marL="720000" indent="-144000" algn="l" defTabSz="914400" rtl="0" eaLnBrk="1" latinLnBrk="0" hangingPunct="1">
      <a:lnSpc>
        <a:spcPct val="110000"/>
      </a:lnSpc>
      <a:spcBef>
        <a:spcPts val="100"/>
      </a:spcBef>
      <a:spcAft>
        <a:spcPts val="100"/>
      </a:spcAft>
      <a:buClr>
        <a:schemeClr val="bg1">
          <a:lumMod val="50000"/>
        </a:schemeClr>
      </a:buClr>
      <a:buFont typeface="Symbol" panose="05050102010706020507" pitchFamily="18" charset="2"/>
      <a:buChar char="-"/>
      <a:defRPr sz="900" kern="1200">
        <a:solidFill>
          <a:schemeClr val="tx1"/>
        </a:solidFill>
        <a:latin typeface="+mn-lt"/>
        <a:ea typeface="+mn-ea"/>
        <a:cs typeface="+mn-cs"/>
      </a:defRPr>
    </a:lvl7pPr>
    <a:lvl8pPr marL="720000" indent="-144000" algn="l" defTabSz="914400" rtl="0" eaLnBrk="1" latinLnBrk="0" hangingPunct="1">
      <a:lnSpc>
        <a:spcPct val="110000"/>
      </a:lnSpc>
      <a:spcBef>
        <a:spcPts val="100"/>
      </a:spcBef>
      <a:spcAft>
        <a:spcPts val="100"/>
      </a:spcAft>
      <a:buClr>
        <a:schemeClr val="bg1">
          <a:lumMod val="50000"/>
        </a:schemeClr>
      </a:buClr>
      <a:buFont typeface="Symbol" panose="05050102010706020507" pitchFamily="18" charset="2"/>
      <a:buChar char="-"/>
      <a:defRPr sz="900" kern="1200">
        <a:solidFill>
          <a:schemeClr val="tx1"/>
        </a:solidFill>
        <a:latin typeface="+mn-lt"/>
        <a:ea typeface="+mn-ea"/>
        <a:cs typeface="+mn-cs"/>
      </a:defRPr>
    </a:lvl8pPr>
    <a:lvl9pPr marL="720000" indent="-144000" algn="l" defTabSz="914400" rtl="0" eaLnBrk="1" latinLnBrk="0" hangingPunct="1">
      <a:lnSpc>
        <a:spcPct val="110000"/>
      </a:lnSpc>
      <a:spcBef>
        <a:spcPts val="100"/>
      </a:spcBef>
      <a:spcAft>
        <a:spcPts val="100"/>
      </a:spcAft>
      <a:buClr>
        <a:schemeClr val="bg1">
          <a:lumMod val="50000"/>
        </a:schemeClr>
      </a:buClr>
      <a:buFont typeface="Symbol" panose="05050102010706020507" pitchFamily="18" charset="2"/>
      <a:buChar char="-"/>
      <a:defRPr sz="900" kern="1200">
        <a:solidFill>
          <a:schemeClr val="tx1"/>
        </a:solidFill>
        <a:latin typeface="+mn-lt"/>
        <a:ea typeface="+mn-ea"/>
        <a:cs typeface="+mn-cs"/>
      </a:defRPr>
    </a:lvl9pPr>
  </p:notesStyle>
  <p:extLst>
    <p:ext uri="{620B2872-D7B9-4A21-9093-7833F8D536E1}">
      <p15:sldGuideLst xmlns:p15="http://schemas.microsoft.com/office/powerpoint/2012/main">
        <p15:guide id="1" pos="299" userDrawn="1">
          <p15:clr>
            <a:srgbClr val="F26B43"/>
          </p15:clr>
        </p15:guide>
        <p15:guide id="2" pos="3986" userDrawn="1">
          <p15:clr>
            <a:srgbClr val="F26B43"/>
          </p15:clr>
        </p15:guide>
        <p15:guide id="3" orient="horz" pos="47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1158875"/>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algn="l"/>
            <a:fld id="{E5BBCCF6-F8A8-4C49-BF3D-CA1AA74CA975}" type="slidenum">
              <a:rPr lang="de-DE" smtClean="0"/>
              <a:pPr algn="l"/>
              <a:t>1</a:t>
            </a:fld>
            <a:endParaRPr lang="de-DE"/>
          </a:p>
        </p:txBody>
      </p:sp>
    </p:spTree>
    <p:extLst>
      <p:ext uri="{BB962C8B-B14F-4D97-AF65-F5344CB8AC3E}">
        <p14:creationId xmlns:p14="http://schemas.microsoft.com/office/powerpoint/2010/main" val="3627799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00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92088" y="1257300"/>
            <a:ext cx="6411912" cy="3606800"/>
          </a:xfrm>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pPr algn="l"/>
            <a:fld id="{E5BBCCF6-F8A8-4C49-BF3D-CA1AA74CA975}" type="slidenum">
              <a:rPr lang="de-DE" smtClean="0"/>
              <a:pPr algn="l"/>
              <a:t>4</a:t>
            </a:fld>
            <a:endParaRPr lang="de-DE"/>
          </a:p>
        </p:txBody>
      </p:sp>
    </p:spTree>
    <p:extLst>
      <p:ext uri="{BB962C8B-B14F-4D97-AF65-F5344CB8AC3E}">
        <p14:creationId xmlns:p14="http://schemas.microsoft.com/office/powerpoint/2010/main" val="15701863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Master" Target="../slideMasters/slideMaster1.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6.svg"/><Relationship Id="rId7" Type="http://schemas.openxmlformats.org/officeDocument/2006/relationships/image" Target="../media/image20.sv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0.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Animation">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BB5F1982-0B19-426F-BEC5-8FFFE7144F0D}"/>
              </a:ext>
            </a:extLst>
          </p:cNvPr>
          <p:cNvGrpSpPr/>
          <p:nvPr userDrawn="1"/>
        </p:nvGrpSpPr>
        <p:grpSpPr>
          <a:xfrm>
            <a:off x="-528736" y="684417"/>
            <a:ext cx="23362828" cy="3632284"/>
            <a:chOff x="-528736" y="684417"/>
            <a:chExt cx="23362828" cy="3632284"/>
          </a:xfrm>
        </p:grpSpPr>
        <p:sp>
          <p:nvSpPr>
            <p:cNvPr id="107" name="Y_big_1">
              <a:extLst>
                <a:ext uri="{FF2B5EF4-FFF2-40B4-BE49-F238E27FC236}">
                  <a16:creationId xmlns:a16="http://schemas.microsoft.com/office/drawing/2014/main" id="{12E7EA9E-740F-42AC-92F7-EAD775B7C977}"/>
                </a:ext>
              </a:extLst>
            </p:cNvPr>
            <p:cNvSpPr/>
            <p:nvPr userDrawn="1">
              <p:custDataLst>
                <p:tags r:id="rId15"/>
              </p:custDataLst>
            </p:nvPr>
          </p:nvSpPr>
          <p:spPr>
            <a:xfrm>
              <a:off x="-528736" y="1638301"/>
              <a:ext cx="11685600" cy="2678400"/>
            </a:xfrm>
            <a:custGeom>
              <a:avLst/>
              <a:gdLst>
                <a:gd name="connsiteX0" fmla="*/ 0 w 11674937"/>
                <a:gd name="connsiteY0" fmla="*/ 0 h 2680525"/>
                <a:gd name="connsiteX1" fmla="*/ 0 w 11674937"/>
                <a:gd name="connsiteY1" fmla="*/ 2680526 h 2680525"/>
                <a:gd name="connsiteX2" fmla="*/ 11674938 w 11674937"/>
                <a:gd name="connsiteY2" fmla="*/ 880046 h 2680525"/>
              </a:gdLst>
              <a:ahLst/>
              <a:cxnLst>
                <a:cxn ang="0">
                  <a:pos x="connsiteX0" y="connsiteY0"/>
                </a:cxn>
                <a:cxn ang="0">
                  <a:pos x="connsiteX1" y="connsiteY1"/>
                </a:cxn>
                <a:cxn ang="0">
                  <a:pos x="connsiteX2" y="connsiteY2"/>
                </a:cxn>
              </a:cxnLst>
              <a:rect l="l" t="t" r="r" b="b"/>
              <a:pathLst>
                <a:path w="11674937" h="2680525">
                  <a:moveTo>
                    <a:pt x="0" y="0"/>
                  </a:moveTo>
                  <a:lnTo>
                    <a:pt x="0" y="2680526"/>
                  </a:lnTo>
                  <a:lnTo>
                    <a:pt x="11674938" y="880046"/>
                  </a:lnTo>
                  <a:close/>
                </a:path>
              </a:pathLst>
            </a:custGeom>
            <a:noFill/>
            <a:ln w="21499" cap="flat">
              <a:noFill/>
              <a:prstDash val="solid"/>
              <a:miter/>
            </a:ln>
          </p:spPr>
          <p:txBody>
            <a:bodyPr rtlCol="0" anchor="ctr"/>
            <a:lstStyle/>
            <a:p>
              <a:endParaRPr lang="de-DE"/>
            </a:p>
          </p:txBody>
        </p:sp>
        <p:sp>
          <p:nvSpPr>
            <p:cNvPr id="115" name="Y_big_1">
              <a:extLst>
                <a:ext uri="{FF2B5EF4-FFF2-40B4-BE49-F238E27FC236}">
                  <a16:creationId xmlns:a16="http://schemas.microsoft.com/office/drawing/2014/main" id="{599F8F37-F4A5-439A-AB79-413CEF419315}"/>
                </a:ext>
              </a:extLst>
            </p:cNvPr>
            <p:cNvSpPr/>
            <p:nvPr userDrawn="1">
              <p:custDataLst>
                <p:tags r:id="rId16"/>
              </p:custDataLst>
            </p:nvPr>
          </p:nvSpPr>
          <p:spPr>
            <a:xfrm rot="10800000">
              <a:off x="11148492" y="684417"/>
              <a:ext cx="11685600" cy="2678400"/>
            </a:xfrm>
            <a:custGeom>
              <a:avLst/>
              <a:gdLst>
                <a:gd name="connsiteX0" fmla="*/ 0 w 11674937"/>
                <a:gd name="connsiteY0" fmla="*/ 0 h 2680525"/>
                <a:gd name="connsiteX1" fmla="*/ 0 w 11674937"/>
                <a:gd name="connsiteY1" fmla="*/ 2680526 h 2680525"/>
                <a:gd name="connsiteX2" fmla="*/ 11674938 w 11674937"/>
                <a:gd name="connsiteY2" fmla="*/ 880046 h 2680525"/>
              </a:gdLst>
              <a:ahLst/>
              <a:cxnLst>
                <a:cxn ang="0">
                  <a:pos x="connsiteX0" y="connsiteY0"/>
                </a:cxn>
                <a:cxn ang="0">
                  <a:pos x="connsiteX1" y="connsiteY1"/>
                </a:cxn>
                <a:cxn ang="0">
                  <a:pos x="connsiteX2" y="connsiteY2"/>
                </a:cxn>
              </a:cxnLst>
              <a:rect l="l" t="t" r="r" b="b"/>
              <a:pathLst>
                <a:path w="11674937" h="2680525">
                  <a:moveTo>
                    <a:pt x="0" y="0"/>
                  </a:moveTo>
                  <a:lnTo>
                    <a:pt x="0" y="2680526"/>
                  </a:lnTo>
                  <a:lnTo>
                    <a:pt x="11674938" y="880046"/>
                  </a:lnTo>
                  <a:close/>
                </a:path>
              </a:pathLst>
            </a:custGeom>
            <a:gradFill flip="none" rotWithShape="1">
              <a:gsLst>
                <a:gs pos="45000">
                  <a:srgbClr val="FFDD00"/>
                </a:gs>
                <a:gs pos="92000">
                  <a:srgbClr val="FFDD00">
                    <a:alpha val="29804"/>
                  </a:srgbClr>
                </a:gs>
              </a:gsLst>
              <a:lin ang="0" scaled="0"/>
              <a:tileRect/>
            </a:gradFill>
            <a:ln w="21499" cap="flat">
              <a:noFill/>
              <a:prstDash val="solid"/>
              <a:miter/>
            </a:ln>
          </p:spPr>
          <p:txBody>
            <a:bodyPr rtlCol="0" anchor="ctr"/>
            <a:lstStyle/>
            <a:p>
              <a:endParaRPr lang="de-DE"/>
            </a:p>
          </p:txBody>
        </p:sp>
      </p:grpSp>
      <p:grpSp>
        <p:nvGrpSpPr>
          <p:cNvPr id="7" name="Gruppieren 6">
            <a:extLst>
              <a:ext uri="{FF2B5EF4-FFF2-40B4-BE49-F238E27FC236}">
                <a16:creationId xmlns:a16="http://schemas.microsoft.com/office/drawing/2014/main" id="{BA1A30E5-8222-46F4-ABB6-50401BFEA91C}"/>
              </a:ext>
            </a:extLst>
          </p:cNvPr>
          <p:cNvGrpSpPr/>
          <p:nvPr userDrawn="1"/>
        </p:nvGrpSpPr>
        <p:grpSpPr>
          <a:xfrm>
            <a:off x="-6437716" y="108224"/>
            <a:ext cx="18629716" cy="3580956"/>
            <a:chOff x="-6437716" y="108224"/>
            <a:chExt cx="18629716" cy="3580956"/>
          </a:xfrm>
        </p:grpSpPr>
        <p:sp>
          <p:nvSpPr>
            <p:cNvPr id="108" name="B_small">
              <a:extLst>
                <a:ext uri="{FF2B5EF4-FFF2-40B4-BE49-F238E27FC236}">
                  <a16:creationId xmlns:a16="http://schemas.microsoft.com/office/drawing/2014/main" id="{ECB8E2A9-8308-45ED-85AD-249183CDF00A}"/>
                </a:ext>
              </a:extLst>
            </p:cNvPr>
            <p:cNvSpPr/>
            <p:nvPr userDrawn="1">
              <p:custDataLst>
                <p:tags r:id="rId13"/>
              </p:custDataLst>
            </p:nvPr>
          </p:nvSpPr>
          <p:spPr>
            <a:xfrm>
              <a:off x="2832000" y="1897380"/>
              <a:ext cx="9360000" cy="1791800"/>
            </a:xfrm>
            <a:custGeom>
              <a:avLst/>
              <a:gdLst>
                <a:gd name="connsiteX0" fmla="*/ 9368313 w 9368313"/>
                <a:gd name="connsiteY0" fmla="*/ 709538 h 1793889"/>
                <a:gd name="connsiteX1" fmla="*/ 0 w 9368313"/>
                <a:gd name="connsiteY1" fmla="*/ 0 h 1793889"/>
                <a:gd name="connsiteX2" fmla="*/ 9368313 w 9368313"/>
                <a:gd name="connsiteY2" fmla="*/ 1793889 h 1793889"/>
              </a:gdLst>
              <a:ahLst/>
              <a:cxnLst>
                <a:cxn ang="0">
                  <a:pos x="connsiteX0" y="connsiteY0"/>
                </a:cxn>
                <a:cxn ang="0">
                  <a:pos x="connsiteX1" y="connsiteY1"/>
                </a:cxn>
                <a:cxn ang="0">
                  <a:pos x="connsiteX2" y="connsiteY2"/>
                </a:cxn>
              </a:cxnLst>
              <a:rect l="l" t="t" r="r" b="b"/>
              <a:pathLst>
                <a:path w="9368313" h="1793889">
                  <a:moveTo>
                    <a:pt x="9368313" y="709538"/>
                  </a:moveTo>
                  <a:lnTo>
                    <a:pt x="0" y="0"/>
                  </a:lnTo>
                  <a:lnTo>
                    <a:pt x="9368313" y="1793889"/>
                  </a:lnTo>
                  <a:close/>
                </a:path>
              </a:pathLst>
            </a:custGeom>
            <a:noFill/>
            <a:ln w="21499" cap="flat">
              <a:noFill/>
              <a:prstDash val="solid"/>
              <a:miter/>
            </a:ln>
          </p:spPr>
          <p:txBody>
            <a:bodyPr rtlCol="0" anchor="ctr"/>
            <a:lstStyle/>
            <a:p>
              <a:endParaRPr lang="de-DE"/>
            </a:p>
          </p:txBody>
        </p:sp>
        <p:sp>
          <p:nvSpPr>
            <p:cNvPr id="114" name="B_small">
              <a:extLst>
                <a:ext uri="{FF2B5EF4-FFF2-40B4-BE49-F238E27FC236}">
                  <a16:creationId xmlns:a16="http://schemas.microsoft.com/office/drawing/2014/main" id="{A8239684-107A-4D65-8ECD-97B00E050D08}"/>
                </a:ext>
              </a:extLst>
            </p:cNvPr>
            <p:cNvSpPr/>
            <p:nvPr userDrawn="1">
              <p:custDataLst>
                <p:tags r:id="rId14"/>
              </p:custDataLst>
            </p:nvPr>
          </p:nvSpPr>
          <p:spPr>
            <a:xfrm rot="10800000">
              <a:off x="-6437716" y="108224"/>
              <a:ext cx="9360000" cy="1791800"/>
            </a:xfrm>
            <a:custGeom>
              <a:avLst/>
              <a:gdLst>
                <a:gd name="connsiteX0" fmla="*/ 9368313 w 9368313"/>
                <a:gd name="connsiteY0" fmla="*/ 709538 h 1793889"/>
                <a:gd name="connsiteX1" fmla="*/ 0 w 9368313"/>
                <a:gd name="connsiteY1" fmla="*/ 0 h 1793889"/>
                <a:gd name="connsiteX2" fmla="*/ 9368313 w 9368313"/>
                <a:gd name="connsiteY2" fmla="*/ 1793889 h 1793889"/>
              </a:gdLst>
              <a:ahLst/>
              <a:cxnLst>
                <a:cxn ang="0">
                  <a:pos x="connsiteX0" y="connsiteY0"/>
                </a:cxn>
                <a:cxn ang="0">
                  <a:pos x="connsiteX1" y="connsiteY1"/>
                </a:cxn>
                <a:cxn ang="0">
                  <a:pos x="connsiteX2" y="connsiteY2"/>
                </a:cxn>
              </a:cxnLst>
              <a:rect l="l" t="t" r="r" b="b"/>
              <a:pathLst>
                <a:path w="9368313" h="1793889">
                  <a:moveTo>
                    <a:pt x="9368313" y="709538"/>
                  </a:moveTo>
                  <a:lnTo>
                    <a:pt x="0" y="0"/>
                  </a:lnTo>
                  <a:lnTo>
                    <a:pt x="9368313" y="1793889"/>
                  </a:lnTo>
                  <a:close/>
                </a:path>
              </a:pathLst>
            </a:custGeom>
            <a:gradFill flip="none" rotWithShape="1">
              <a:gsLst>
                <a:gs pos="60000">
                  <a:srgbClr val="404649">
                    <a:alpha val="57647"/>
                  </a:srgbClr>
                </a:gs>
                <a:gs pos="8000">
                  <a:srgbClr val="404649">
                    <a:alpha val="0"/>
                  </a:srgbClr>
                </a:gs>
              </a:gsLst>
              <a:lin ang="0" scaled="0"/>
              <a:tileRect/>
            </a:gradFill>
            <a:ln w="21499" cap="flat">
              <a:noFill/>
              <a:prstDash val="solid"/>
              <a:miter/>
            </a:ln>
          </p:spPr>
          <p:txBody>
            <a:bodyPr rtlCol="0" anchor="ctr"/>
            <a:lstStyle/>
            <a:p>
              <a:endParaRPr lang="de-DE"/>
            </a:p>
          </p:txBody>
        </p:sp>
      </p:grpSp>
      <p:grpSp>
        <p:nvGrpSpPr>
          <p:cNvPr id="4" name="Gruppieren 3">
            <a:extLst>
              <a:ext uri="{FF2B5EF4-FFF2-40B4-BE49-F238E27FC236}">
                <a16:creationId xmlns:a16="http://schemas.microsoft.com/office/drawing/2014/main" id="{38D17D5D-A114-469F-8D4B-53E4AA943052}"/>
              </a:ext>
            </a:extLst>
          </p:cNvPr>
          <p:cNvGrpSpPr/>
          <p:nvPr userDrawn="1"/>
        </p:nvGrpSpPr>
        <p:grpSpPr>
          <a:xfrm>
            <a:off x="-13134460" y="-58056"/>
            <a:ext cx="25594697" cy="3391512"/>
            <a:chOff x="-13134460" y="-58056"/>
            <a:chExt cx="25594697" cy="3391512"/>
          </a:xfrm>
        </p:grpSpPr>
        <p:sp>
          <p:nvSpPr>
            <p:cNvPr id="112" name="B_big_1">
              <a:extLst>
                <a:ext uri="{FF2B5EF4-FFF2-40B4-BE49-F238E27FC236}">
                  <a16:creationId xmlns:a16="http://schemas.microsoft.com/office/drawing/2014/main" id="{E3CF9455-CD1A-4779-A4B2-E71E6DD759CB}"/>
                </a:ext>
              </a:extLst>
            </p:cNvPr>
            <p:cNvSpPr/>
            <p:nvPr userDrawn="1">
              <p:custDataLst>
                <p:tags r:id="rId11"/>
              </p:custDataLst>
            </p:nvPr>
          </p:nvSpPr>
          <p:spPr>
            <a:xfrm>
              <a:off x="-334163" y="-58056"/>
              <a:ext cx="12794400" cy="2687300"/>
            </a:xfrm>
            <a:custGeom>
              <a:avLst/>
              <a:gdLst>
                <a:gd name="connsiteX0" fmla="*/ 12799195 w 12799194"/>
                <a:gd name="connsiteY0" fmla="*/ 2668020 h 2668019"/>
                <a:gd name="connsiteX1" fmla="*/ 12799195 w 12799194"/>
                <a:gd name="connsiteY1" fmla="*/ 0 h 2668019"/>
                <a:gd name="connsiteX2" fmla="*/ 0 w 12799194"/>
                <a:gd name="connsiteY2" fmla="*/ 1362483 h 2668019"/>
                <a:gd name="connsiteX3" fmla="*/ 0 w 12799194"/>
                <a:gd name="connsiteY3" fmla="*/ 2026851 h 2668019"/>
              </a:gdLst>
              <a:ahLst/>
              <a:cxnLst>
                <a:cxn ang="0">
                  <a:pos x="connsiteX0" y="connsiteY0"/>
                </a:cxn>
                <a:cxn ang="0">
                  <a:pos x="connsiteX1" y="connsiteY1"/>
                </a:cxn>
                <a:cxn ang="0">
                  <a:pos x="connsiteX2" y="connsiteY2"/>
                </a:cxn>
                <a:cxn ang="0">
                  <a:pos x="connsiteX3" y="connsiteY3"/>
                </a:cxn>
              </a:cxnLst>
              <a:rect l="l" t="t" r="r" b="b"/>
              <a:pathLst>
                <a:path w="12799194" h="2668019">
                  <a:moveTo>
                    <a:pt x="12799195" y="2668020"/>
                  </a:moveTo>
                  <a:lnTo>
                    <a:pt x="12799195" y="0"/>
                  </a:lnTo>
                  <a:lnTo>
                    <a:pt x="0" y="1362483"/>
                  </a:lnTo>
                  <a:lnTo>
                    <a:pt x="0" y="2026851"/>
                  </a:lnTo>
                  <a:close/>
                </a:path>
              </a:pathLst>
            </a:custGeom>
            <a:noFill/>
            <a:ln w="21499" cap="flat">
              <a:noFill/>
              <a:prstDash val="solid"/>
              <a:miter/>
            </a:ln>
          </p:spPr>
          <p:txBody>
            <a:bodyPr rtlCol="0" anchor="ctr"/>
            <a:lstStyle/>
            <a:p>
              <a:endParaRPr lang="de-DE"/>
            </a:p>
          </p:txBody>
        </p:sp>
        <p:sp>
          <p:nvSpPr>
            <p:cNvPr id="111" name="B_big_1">
              <a:extLst>
                <a:ext uri="{FF2B5EF4-FFF2-40B4-BE49-F238E27FC236}">
                  <a16:creationId xmlns:a16="http://schemas.microsoft.com/office/drawing/2014/main" id="{0C9ECC49-36C5-46D0-BB0F-FCB3E973385D}"/>
                </a:ext>
              </a:extLst>
            </p:cNvPr>
            <p:cNvSpPr/>
            <p:nvPr userDrawn="1">
              <p:custDataLst>
                <p:tags r:id="rId12"/>
              </p:custDataLst>
            </p:nvPr>
          </p:nvSpPr>
          <p:spPr>
            <a:xfrm rot="10800000">
              <a:off x="-13134460" y="646156"/>
              <a:ext cx="12794400" cy="2687300"/>
            </a:xfrm>
            <a:custGeom>
              <a:avLst/>
              <a:gdLst>
                <a:gd name="connsiteX0" fmla="*/ 12799195 w 12799194"/>
                <a:gd name="connsiteY0" fmla="*/ 2668020 h 2668019"/>
                <a:gd name="connsiteX1" fmla="*/ 12799195 w 12799194"/>
                <a:gd name="connsiteY1" fmla="*/ 0 h 2668019"/>
                <a:gd name="connsiteX2" fmla="*/ 0 w 12799194"/>
                <a:gd name="connsiteY2" fmla="*/ 1362483 h 2668019"/>
                <a:gd name="connsiteX3" fmla="*/ 0 w 12799194"/>
                <a:gd name="connsiteY3" fmla="*/ 2026851 h 2668019"/>
              </a:gdLst>
              <a:ahLst/>
              <a:cxnLst>
                <a:cxn ang="0">
                  <a:pos x="connsiteX0" y="connsiteY0"/>
                </a:cxn>
                <a:cxn ang="0">
                  <a:pos x="connsiteX1" y="connsiteY1"/>
                </a:cxn>
                <a:cxn ang="0">
                  <a:pos x="connsiteX2" y="connsiteY2"/>
                </a:cxn>
                <a:cxn ang="0">
                  <a:pos x="connsiteX3" y="connsiteY3"/>
                </a:cxn>
              </a:cxnLst>
              <a:rect l="l" t="t" r="r" b="b"/>
              <a:pathLst>
                <a:path w="12799194" h="2668019">
                  <a:moveTo>
                    <a:pt x="12799195" y="2668020"/>
                  </a:moveTo>
                  <a:lnTo>
                    <a:pt x="12799195" y="0"/>
                  </a:lnTo>
                  <a:lnTo>
                    <a:pt x="0" y="1362483"/>
                  </a:lnTo>
                  <a:lnTo>
                    <a:pt x="0" y="2026851"/>
                  </a:lnTo>
                  <a:close/>
                </a:path>
              </a:pathLst>
            </a:custGeom>
            <a:gradFill flip="none" rotWithShape="1">
              <a:gsLst>
                <a:gs pos="0">
                  <a:srgbClr val="404649">
                    <a:alpha val="6667"/>
                  </a:srgbClr>
                </a:gs>
                <a:gs pos="46000">
                  <a:srgbClr val="404649">
                    <a:alpha val="75686"/>
                  </a:srgbClr>
                </a:gs>
              </a:gsLst>
              <a:lin ang="1200000" scaled="0"/>
              <a:tileRect/>
            </a:gradFill>
            <a:ln w="21499" cap="flat">
              <a:noFill/>
              <a:prstDash val="solid"/>
              <a:miter/>
            </a:ln>
          </p:spPr>
          <p:txBody>
            <a:bodyPr rtlCol="0" anchor="ctr"/>
            <a:lstStyle/>
            <a:p>
              <a:endParaRPr lang="de-DE"/>
            </a:p>
          </p:txBody>
        </p:sp>
      </p:grpSp>
      <p:grpSp>
        <p:nvGrpSpPr>
          <p:cNvPr id="6" name="Gruppieren 5">
            <a:extLst>
              <a:ext uri="{FF2B5EF4-FFF2-40B4-BE49-F238E27FC236}">
                <a16:creationId xmlns:a16="http://schemas.microsoft.com/office/drawing/2014/main" id="{8F43E8F7-E012-4E67-B25D-B59C6DF29174}"/>
              </a:ext>
            </a:extLst>
          </p:cNvPr>
          <p:cNvGrpSpPr/>
          <p:nvPr userDrawn="1"/>
        </p:nvGrpSpPr>
        <p:grpSpPr>
          <a:xfrm>
            <a:off x="-1" y="1046194"/>
            <a:ext cx="12192003" cy="4508236"/>
            <a:chOff x="-1" y="1046194"/>
            <a:chExt cx="12192003" cy="4508236"/>
          </a:xfrm>
        </p:grpSpPr>
        <p:sp>
          <p:nvSpPr>
            <p:cNvPr id="110" name="Y_small">
              <a:extLst>
                <a:ext uri="{FF2B5EF4-FFF2-40B4-BE49-F238E27FC236}">
                  <a16:creationId xmlns:a16="http://schemas.microsoft.com/office/drawing/2014/main" id="{D4BE2AB7-C305-431C-B0C5-B2219CC6DA7C}"/>
                </a:ext>
              </a:extLst>
            </p:cNvPr>
            <p:cNvSpPr/>
            <p:nvPr userDrawn="1">
              <p:custDataLst>
                <p:tags r:id="rId9"/>
              </p:custDataLst>
            </p:nvPr>
          </p:nvSpPr>
          <p:spPr>
            <a:xfrm rot="10800000">
              <a:off x="6106264" y="1046194"/>
              <a:ext cx="6085738" cy="2251620"/>
            </a:xfrm>
            <a:custGeom>
              <a:avLst/>
              <a:gdLst>
                <a:gd name="connsiteX0" fmla="*/ 6085739 w 6085738"/>
                <a:gd name="connsiteY0" fmla="*/ 0 h 2251620"/>
                <a:gd name="connsiteX1" fmla="*/ 0 w 6085738"/>
                <a:gd name="connsiteY1" fmla="*/ 359192 h 2251620"/>
                <a:gd name="connsiteX2" fmla="*/ 0 w 6085738"/>
                <a:gd name="connsiteY2" fmla="*/ 2251620 h 2251620"/>
              </a:gdLst>
              <a:ahLst/>
              <a:cxnLst>
                <a:cxn ang="0">
                  <a:pos x="connsiteX0" y="connsiteY0"/>
                </a:cxn>
                <a:cxn ang="0">
                  <a:pos x="connsiteX1" y="connsiteY1"/>
                </a:cxn>
                <a:cxn ang="0">
                  <a:pos x="connsiteX2" y="connsiteY2"/>
                </a:cxn>
              </a:cxnLst>
              <a:rect l="l" t="t" r="r" b="b"/>
              <a:pathLst>
                <a:path w="6085738" h="2251620">
                  <a:moveTo>
                    <a:pt x="6085739" y="0"/>
                  </a:moveTo>
                  <a:lnTo>
                    <a:pt x="0" y="359192"/>
                  </a:lnTo>
                  <a:lnTo>
                    <a:pt x="0" y="2251620"/>
                  </a:lnTo>
                  <a:close/>
                </a:path>
              </a:pathLst>
            </a:custGeom>
            <a:gradFill flip="none" rotWithShape="1">
              <a:gsLst>
                <a:gs pos="71000">
                  <a:srgbClr val="FEC802">
                    <a:alpha val="27451"/>
                  </a:srgbClr>
                </a:gs>
                <a:gs pos="25000">
                  <a:srgbClr val="FEC802">
                    <a:alpha val="59000"/>
                  </a:srgbClr>
                </a:gs>
                <a:gs pos="88000">
                  <a:srgbClr val="FEC802">
                    <a:alpha val="14902"/>
                  </a:srgbClr>
                </a:gs>
              </a:gsLst>
              <a:lin ang="1800000" scaled="0"/>
              <a:tileRect/>
            </a:grad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113" name="Y_small">
              <a:extLst>
                <a:ext uri="{FF2B5EF4-FFF2-40B4-BE49-F238E27FC236}">
                  <a16:creationId xmlns:a16="http://schemas.microsoft.com/office/drawing/2014/main" id="{8B82DA43-CC94-4BDD-831A-4486F30183DC}"/>
                </a:ext>
              </a:extLst>
            </p:cNvPr>
            <p:cNvSpPr/>
            <p:nvPr userDrawn="1">
              <p:custDataLst>
                <p:tags r:id="rId10"/>
              </p:custDataLst>
            </p:nvPr>
          </p:nvSpPr>
          <p:spPr>
            <a:xfrm>
              <a:off x="-1" y="3302810"/>
              <a:ext cx="6085738" cy="2251620"/>
            </a:xfrm>
            <a:custGeom>
              <a:avLst/>
              <a:gdLst>
                <a:gd name="connsiteX0" fmla="*/ 6085739 w 6085738"/>
                <a:gd name="connsiteY0" fmla="*/ 0 h 2251620"/>
                <a:gd name="connsiteX1" fmla="*/ 0 w 6085738"/>
                <a:gd name="connsiteY1" fmla="*/ 359192 h 2251620"/>
                <a:gd name="connsiteX2" fmla="*/ 0 w 6085738"/>
                <a:gd name="connsiteY2" fmla="*/ 2251620 h 2251620"/>
              </a:gdLst>
              <a:ahLst/>
              <a:cxnLst>
                <a:cxn ang="0">
                  <a:pos x="connsiteX0" y="connsiteY0"/>
                </a:cxn>
                <a:cxn ang="0">
                  <a:pos x="connsiteX1" y="connsiteY1"/>
                </a:cxn>
                <a:cxn ang="0">
                  <a:pos x="connsiteX2" y="connsiteY2"/>
                </a:cxn>
              </a:cxnLst>
              <a:rect l="l" t="t" r="r" b="b"/>
              <a:pathLst>
                <a:path w="6085738" h="2251620">
                  <a:moveTo>
                    <a:pt x="6085739" y="0"/>
                  </a:moveTo>
                  <a:lnTo>
                    <a:pt x="0" y="359192"/>
                  </a:lnTo>
                  <a:lnTo>
                    <a:pt x="0" y="2251620"/>
                  </a:lnTo>
                  <a:close/>
                </a:path>
              </a:pathLst>
            </a:custGeom>
            <a:no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sp>
        <p:nvSpPr>
          <p:cNvPr id="5" name="Rechteck 4">
            <a:extLst>
              <a:ext uri="{FF2B5EF4-FFF2-40B4-BE49-F238E27FC236}">
                <a16:creationId xmlns:a16="http://schemas.microsoft.com/office/drawing/2014/main" id="{EDB1BED6-62B9-46B1-800A-9C14CB4F3565}"/>
              </a:ext>
            </a:extLst>
          </p:cNvPr>
          <p:cNvSpPr/>
          <p:nvPr userDrawn="1"/>
        </p:nvSpPr>
        <p:spPr bwMode="gray">
          <a:xfrm>
            <a:off x="-1" y="0"/>
            <a:ext cx="12173585" cy="685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grpSp>
        <p:nvGrpSpPr>
          <p:cNvPr id="3" name="Gruppieren 2">
            <a:extLst>
              <a:ext uri="{FF2B5EF4-FFF2-40B4-BE49-F238E27FC236}">
                <a16:creationId xmlns:a16="http://schemas.microsoft.com/office/drawing/2014/main" id="{6436A33B-C3E8-4269-8AD8-2D4FA4EE7C57}"/>
              </a:ext>
            </a:extLst>
          </p:cNvPr>
          <p:cNvGrpSpPr/>
          <p:nvPr userDrawn="1"/>
        </p:nvGrpSpPr>
        <p:grpSpPr>
          <a:xfrm>
            <a:off x="-528736" y="-58400"/>
            <a:ext cx="12988973" cy="5612830"/>
            <a:chOff x="-528736" y="-58400"/>
            <a:chExt cx="12988973" cy="5612830"/>
          </a:xfrm>
        </p:grpSpPr>
        <p:sp>
          <p:nvSpPr>
            <p:cNvPr id="97" name="Y_big_1">
              <a:extLst>
                <a:ext uri="{FF2B5EF4-FFF2-40B4-BE49-F238E27FC236}">
                  <a16:creationId xmlns:a16="http://schemas.microsoft.com/office/drawing/2014/main" id="{F9BF1417-7ED8-4848-BD9E-F08375A46A75}"/>
                </a:ext>
              </a:extLst>
            </p:cNvPr>
            <p:cNvSpPr/>
            <p:nvPr userDrawn="1">
              <p:custDataLst>
                <p:tags r:id="rId5"/>
              </p:custDataLst>
            </p:nvPr>
          </p:nvSpPr>
          <p:spPr>
            <a:xfrm>
              <a:off x="-528736" y="1638301"/>
              <a:ext cx="11685600" cy="2678400"/>
            </a:xfrm>
            <a:custGeom>
              <a:avLst/>
              <a:gdLst>
                <a:gd name="connsiteX0" fmla="*/ 0 w 11674937"/>
                <a:gd name="connsiteY0" fmla="*/ 0 h 2680525"/>
                <a:gd name="connsiteX1" fmla="*/ 0 w 11674937"/>
                <a:gd name="connsiteY1" fmla="*/ 2680526 h 2680525"/>
                <a:gd name="connsiteX2" fmla="*/ 11674938 w 11674937"/>
                <a:gd name="connsiteY2" fmla="*/ 880046 h 2680525"/>
              </a:gdLst>
              <a:ahLst/>
              <a:cxnLst>
                <a:cxn ang="0">
                  <a:pos x="connsiteX0" y="connsiteY0"/>
                </a:cxn>
                <a:cxn ang="0">
                  <a:pos x="connsiteX1" y="connsiteY1"/>
                </a:cxn>
                <a:cxn ang="0">
                  <a:pos x="connsiteX2" y="connsiteY2"/>
                </a:cxn>
              </a:cxnLst>
              <a:rect l="l" t="t" r="r" b="b"/>
              <a:pathLst>
                <a:path w="11674937" h="2680525">
                  <a:moveTo>
                    <a:pt x="0" y="0"/>
                  </a:moveTo>
                  <a:lnTo>
                    <a:pt x="0" y="2680526"/>
                  </a:lnTo>
                  <a:lnTo>
                    <a:pt x="11674938" y="880046"/>
                  </a:lnTo>
                  <a:close/>
                </a:path>
              </a:pathLst>
            </a:custGeom>
            <a:gradFill flip="none" rotWithShape="1">
              <a:gsLst>
                <a:gs pos="45000">
                  <a:srgbClr val="FFDD00"/>
                </a:gs>
                <a:gs pos="92000">
                  <a:srgbClr val="FFDD00">
                    <a:alpha val="29804"/>
                  </a:srgbClr>
                </a:gs>
              </a:gsLst>
              <a:lin ang="0" scaled="0"/>
              <a:tileRect/>
            </a:gradFill>
            <a:ln w="21499" cap="flat">
              <a:noFill/>
              <a:prstDash val="solid"/>
              <a:miter/>
            </a:ln>
          </p:spPr>
          <p:txBody>
            <a:bodyPr rtlCol="0" anchor="ctr"/>
            <a:lstStyle/>
            <a:p>
              <a:endParaRPr lang="de-DE"/>
            </a:p>
          </p:txBody>
        </p:sp>
        <p:sp>
          <p:nvSpPr>
            <p:cNvPr id="96" name="B_small">
              <a:extLst>
                <a:ext uri="{FF2B5EF4-FFF2-40B4-BE49-F238E27FC236}">
                  <a16:creationId xmlns:a16="http://schemas.microsoft.com/office/drawing/2014/main" id="{08D637A2-64C3-4D40-B615-096A68F5B712}"/>
                </a:ext>
              </a:extLst>
            </p:cNvPr>
            <p:cNvSpPr/>
            <p:nvPr userDrawn="1">
              <p:custDataLst>
                <p:tags r:id="rId6"/>
              </p:custDataLst>
            </p:nvPr>
          </p:nvSpPr>
          <p:spPr>
            <a:xfrm>
              <a:off x="2832000" y="1897380"/>
              <a:ext cx="9360000" cy="1791800"/>
            </a:xfrm>
            <a:custGeom>
              <a:avLst/>
              <a:gdLst>
                <a:gd name="connsiteX0" fmla="*/ 9368313 w 9368313"/>
                <a:gd name="connsiteY0" fmla="*/ 709538 h 1793889"/>
                <a:gd name="connsiteX1" fmla="*/ 0 w 9368313"/>
                <a:gd name="connsiteY1" fmla="*/ 0 h 1793889"/>
                <a:gd name="connsiteX2" fmla="*/ 9368313 w 9368313"/>
                <a:gd name="connsiteY2" fmla="*/ 1793889 h 1793889"/>
              </a:gdLst>
              <a:ahLst/>
              <a:cxnLst>
                <a:cxn ang="0">
                  <a:pos x="connsiteX0" y="connsiteY0"/>
                </a:cxn>
                <a:cxn ang="0">
                  <a:pos x="connsiteX1" y="connsiteY1"/>
                </a:cxn>
                <a:cxn ang="0">
                  <a:pos x="connsiteX2" y="connsiteY2"/>
                </a:cxn>
              </a:cxnLst>
              <a:rect l="l" t="t" r="r" b="b"/>
              <a:pathLst>
                <a:path w="9368313" h="1793889">
                  <a:moveTo>
                    <a:pt x="9368313" y="709538"/>
                  </a:moveTo>
                  <a:lnTo>
                    <a:pt x="0" y="0"/>
                  </a:lnTo>
                  <a:lnTo>
                    <a:pt x="9368313" y="1793889"/>
                  </a:lnTo>
                  <a:close/>
                </a:path>
              </a:pathLst>
            </a:custGeom>
            <a:gradFill flip="none" rotWithShape="1">
              <a:gsLst>
                <a:gs pos="60000">
                  <a:srgbClr val="404649">
                    <a:alpha val="57647"/>
                  </a:srgbClr>
                </a:gs>
                <a:gs pos="8000">
                  <a:srgbClr val="404649">
                    <a:alpha val="0"/>
                  </a:srgbClr>
                </a:gs>
              </a:gsLst>
              <a:lin ang="0" scaled="0"/>
              <a:tileRect/>
            </a:gradFill>
            <a:ln w="21499" cap="flat">
              <a:noFill/>
              <a:prstDash val="solid"/>
              <a:miter/>
            </a:ln>
          </p:spPr>
          <p:txBody>
            <a:bodyPr rtlCol="0" anchor="ctr"/>
            <a:lstStyle/>
            <a:p>
              <a:endParaRPr lang="de-DE"/>
            </a:p>
          </p:txBody>
        </p:sp>
        <p:sp>
          <p:nvSpPr>
            <p:cNvPr id="89" name="B_big_1">
              <a:extLst>
                <a:ext uri="{FF2B5EF4-FFF2-40B4-BE49-F238E27FC236}">
                  <a16:creationId xmlns:a16="http://schemas.microsoft.com/office/drawing/2014/main" id="{AED915F3-184D-49BC-BCEC-975476ED69E0}"/>
                </a:ext>
              </a:extLst>
            </p:cNvPr>
            <p:cNvSpPr/>
            <p:nvPr userDrawn="1">
              <p:custDataLst>
                <p:tags r:id="rId7"/>
              </p:custDataLst>
            </p:nvPr>
          </p:nvSpPr>
          <p:spPr>
            <a:xfrm>
              <a:off x="-334163" y="-58400"/>
              <a:ext cx="12794400" cy="2687300"/>
            </a:xfrm>
            <a:custGeom>
              <a:avLst/>
              <a:gdLst>
                <a:gd name="connsiteX0" fmla="*/ 12799195 w 12799194"/>
                <a:gd name="connsiteY0" fmla="*/ 2668020 h 2668019"/>
                <a:gd name="connsiteX1" fmla="*/ 12799195 w 12799194"/>
                <a:gd name="connsiteY1" fmla="*/ 0 h 2668019"/>
                <a:gd name="connsiteX2" fmla="*/ 0 w 12799194"/>
                <a:gd name="connsiteY2" fmla="*/ 1362483 h 2668019"/>
                <a:gd name="connsiteX3" fmla="*/ 0 w 12799194"/>
                <a:gd name="connsiteY3" fmla="*/ 2026851 h 2668019"/>
              </a:gdLst>
              <a:ahLst/>
              <a:cxnLst>
                <a:cxn ang="0">
                  <a:pos x="connsiteX0" y="connsiteY0"/>
                </a:cxn>
                <a:cxn ang="0">
                  <a:pos x="connsiteX1" y="connsiteY1"/>
                </a:cxn>
                <a:cxn ang="0">
                  <a:pos x="connsiteX2" y="connsiteY2"/>
                </a:cxn>
                <a:cxn ang="0">
                  <a:pos x="connsiteX3" y="connsiteY3"/>
                </a:cxn>
              </a:cxnLst>
              <a:rect l="l" t="t" r="r" b="b"/>
              <a:pathLst>
                <a:path w="12799194" h="2668019">
                  <a:moveTo>
                    <a:pt x="12799195" y="2668020"/>
                  </a:moveTo>
                  <a:lnTo>
                    <a:pt x="12799195" y="0"/>
                  </a:lnTo>
                  <a:lnTo>
                    <a:pt x="0" y="1362483"/>
                  </a:lnTo>
                  <a:lnTo>
                    <a:pt x="0" y="2026851"/>
                  </a:lnTo>
                  <a:close/>
                </a:path>
              </a:pathLst>
            </a:custGeom>
            <a:gradFill flip="none" rotWithShape="1">
              <a:gsLst>
                <a:gs pos="0">
                  <a:srgbClr val="404649">
                    <a:alpha val="6667"/>
                  </a:srgbClr>
                </a:gs>
                <a:gs pos="46000">
                  <a:srgbClr val="404649">
                    <a:alpha val="75686"/>
                  </a:srgbClr>
                </a:gs>
              </a:gsLst>
              <a:lin ang="1200000" scaled="0"/>
              <a:tileRect/>
            </a:gradFill>
            <a:ln w="21499" cap="flat">
              <a:noFill/>
              <a:prstDash val="solid"/>
              <a:miter/>
            </a:ln>
          </p:spPr>
          <p:txBody>
            <a:bodyPr rtlCol="0" anchor="ctr"/>
            <a:lstStyle/>
            <a:p>
              <a:endParaRPr lang="de-DE"/>
            </a:p>
          </p:txBody>
        </p:sp>
        <p:sp>
          <p:nvSpPr>
            <p:cNvPr id="98" name="Y_small">
              <a:extLst>
                <a:ext uri="{FF2B5EF4-FFF2-40B4-BE49-F238E27FC236}">
                  <a16:creationId xmlns:a16="http://schemas.microsoft.com/office/drawing/2014/main" id="{4495C4CC-9456-4275-9D69-6896C422B6B5}"/>
                </a:ext>
              </a:extLst>
            </p:cNvPr>
            <p:cNvSpPr/>
            <p:nvPr userDrawn="1">
              <p:custDataLst>
                <p:tags r:id="rId8"/>
              </p:custDataLst>
            </p:nvPr>
          </p:nvSpPr>
          <p:spPr>
            <a:xfrm>
              <a:off x="0" y="3302810"/>
              <a:ext cx="6085738" cy="2251620"/>
            </a:xfrm>
            <a:custGeom>
              <a:avLst/>
              <a:gdLst>
                <a:gd name="connsiteX0" fmla="*/ 6085739 w 6085738"/>
                <a:gd name="connsiteY0" fmla="*/ 0 h 2251620"/>
                <a:gd name="connsiteX1" fmla="*/ 0 w 6085738"/>
                <a:gd name="connsiteY1" fmla="*/ 359192 h 2251620"/>
                <a:gd name="connsiteX2" fmla="*/ 0 w 6085738"/>
                <a:gd name="connsiteY2" fmla="*/ 2251620 h 2251620"/>
              </a:gdLst>
              <a:ahLst/>
              <a:cxnLst>
                <a:cxn ang="0">
                  <a:pos x="connsiteX0" y="connsiteY0"/>
                </a:cxn>
                <a:cxn ang="0">
                  <a:pos x="connsiteX1" y="connsiteY1"/>
                </a:cxn>
                <a:cxn ang="0">
                  <a:pos x="connsiteX2" y="connsiteY2"/>
                </a:cxn>
              </a:cxnLst>
              <a:rect l="l" t="t" r="r" b="b"/>
              <a:pathLst>
                <a:path w="6085738" h="2251620">
                  <a:moveTo>
                    <a:pt x="6085739" y="0"/>
                  </a:moveTo>
                  <a:lnTo>
                    <a:pt x="0" y="359192"/>
                  </a:lnTo>
                  <a:lnTo>
                    <a:pt x="0" y="2251620"/>
                  </a:lnTo>
                  <a:close/>
                </a:path>
              </a:pathLst>
            </a:custGeom>
            <a:gradFill flip="none" rotWithShape="1">
              <a:gsLst>
                <a:gs pos="71000">
                  <a:srgbClr val="FEC802">
                    <a:alpha val="27451"/>
                  </a:srgbClr>
                </a:gs>
                <a:gs pos="25000">
                  <a:srgbClr val="FEC802">
                    <a:alpha val="59000"/>
                  </a:srgbClr>
                </a:gs>
                <a:gs pos="88000">
                  <a:srgbClr val="FEC802">
                    <a:alpha val="14902"/>
                  </a:srgbClr>
                </a:gs>
              </a:gsLst>
              <a:lin ang="1800000" scaled="0"/>
              <a:tileRect/>
            </a:grad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grpSp>
        <p:nvGrpSpPr>
          <p:cNvPr id="28" name="Gruppieren 27">
            <a:extLst>
              <a:ext uri="{FF2B5EF4-FFF2-40B4-BE49-F238E27FC236}">
                <a16:creationId xmlns:a16="http://schemas.microsoft.com/office/drawing/2014/main" id="{8545D2E9-C515-4CDF-9CA8-BBF38BB147A7}"/>
              </a:ext>
            </a:extLst>
          </p:cNvPr>
          <p:cNvGrpSpPr/>
          <p:nvPr userDrawn="1">
            <p:custDataLst>
              <p:tags r:id="rId1"/>
            </p:custDataLst>
          </p:nvPr>
        </p:nvGrpSpPr>
        <p:grpSpPr bwMode="gray">
          <a:xfrm>
            <a:off x="4199062" y="4723451"/>
            <a:ext cx="4633488" cy="916760"/>
            <a:chOff x="4199062" y="4723451"/>
            <a:chExt cx="4633488" cy="916760"/>
          </a:xfrm>
        </p:grpSpPr>
        <p:sp>
          <p:nvSpPr>
            <p:cNvPr id="29" name="Freihandform: Form 28">
              <a:extLst>
                <a:ext uri="{FF2B5EF4-FFF2-40B4-BE49-F238E27FC236}">
                  <a16:creationId xmlns:a16="http://schemas.microsoft.com/office/drawing/2014/main" id="{FFC531A9-B002-4475-A2F7-01D3CF5086E7}"/>
                </a:ext>
              </a:extLst>
            </p:cNvPr>
            <p:cNvSpPr/>
            <p:nvPr/>
          </p:nvSpPr>
          <p:spPr bwMode="gray">
            <a:xfrm>
              <a:off x="4199062" y="4723451"/>
              <a:ext cx="964015" cy="765541"/>
            </a:xfrm>
            <a:custGeom>
              <a:avLst/>
              <a:gdLst>
                <a:gd name="connsiteX0" fmla="*/ 307162 w 964015"/>
                <a:gd name="connsiteY0" fmla="*/ 0 h 765541"/>
                <a:gd name="connsiteX1" fmla="*/ 0 w 964015"/>
                <a:gd name="connsiteY1" fmla="*/ 765542 h 765541"/>
                <a:gd name="connsiteX2" fmla="*/ 179572 w 964015"/>
                <a:gd name="connsiteY2" fmla="*/ 765542 h 765541"/>
                <a:gd name="connsiteX3" fmla="*/ 255181 w 964015"/>
                <a:gd name="connsiteY3" fmla="*/ 581245 h 765541"/>
                <a:gd name="connsiteX4" fmla="*/ 307162 w 964015"/>
                <a:gd name="connsiteY4" fmla="*/ 543440 h 765541"/>
                <a:gd name="connsiteX5" fmla="*/ 505636 w 964015"/>
                <a:gd name="connsiteY5" fmla="*/ 765542 h 765541"/>
                <a:gd name="connsiteX6" fmla="*/ 756091 w 964015"/>
                <a:gd name="connsiteY6" fmla="*/ 765542 h 765541"/>
                <a:gd name="connsiteX7" fmla="*/ 453654 w 964015"/>
                <a:gd name="connsiteY7" fmla="*/ 458380 h 765541"/>
                <a:gd name="connsiteX8" fmla="*/ 964016 w 964015"/>
                <a:gd name="connsiteY8" fmla="*/ 146493 h 765541"/>
                <a:gd name="connsiteX9" fmla="*/ 699384 w 964015"/>
                <a:gd name="connsiteY9" fmla="*/ 146493 h 765541"/>
                <a:gd name="connsiteX10" fmla="*/ 335515 w 964015"/>
                <a:gd name="connsiteY10" fmla="*/ 387496 h 765541"/>
                <a:gd name="connsiteX11" fmla="*/ 491459 w 964015"/>
                <a:gd name="connsiteY11" fmla="*/ 0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4015" h="765541">
                  <a:moveTo>
                    <a:pt x="307162" y="0"/>
                  </a:moveTo>
                  <a:lnTo>
                    <a:pt x="0" y="765542"/>
                  </a:lnTo>
                  <a:lnTo>
                    <a:pt x="179572" y="765542"/>
                  </a:lnTo>
                  <a:lnTo>
                    <a:pt x="255181" y="581245"/>
                  </a:lnTo>
                  <a:lnTo>
                    <a:pt x="307162" y="543440"/>
                  </a:lnTo>
                  <a:lnTo>
                    <a:pt x="505636" y="765542"/>
                  </a:lnTo>
                  <a:lnTo>
                    <a:pt x="756091" y="765542"/>
                  </a:lnTo>
                  <a:lnTo>
                    <a:pt x="453654" y="458380"/>
                  </a:lnTo>
                  <a:lnTo>
                    <a:pt x="964016" y="146493"/>
                  </a:lnTo>
                  <a:lnTo>
                    <a:pt x="699384" y="146493"/>
                  </a:lnTo>
                  <a:lnTo>
                    <a:pt x="335515" y="387496"/>
                  </a:lnTo>
                  <a:lnTo>
                    <a:pt x="491459" y="0"/>
                  </a:lnTo>
                  <a:close/>
                </a:path>
              </a:pathLst>
            </a:custGeom>
            <a:solidFill>
              <a:srgbClr val="000000"/>
            </a:solidFill>
            <a:ln w="47234" cap="flat">
              <a:noFill/>
              <a:prstDash val="solid"/>
              <a:miter/>
            </a:ln>
          </p:spPr>
          <p:txBody>
            <a:bodyPr rtlCol="0" anchor="ctr"/>
            <a:lstStyle/>
            <a:p>
              <a:endParaRPr lang="de-AT"/>
            </a:p>
          </p:txBody>
        </p:sp>
        <p:sp>
          <p:nvSpPr>
            <p:cNvPr id="30" name="Freihandform: Form 29">
              <a:extLst>
                <a:ext uri="{FF2B5EF4-FFF2-40B4-BE49-F238E27FC236}">
                  <a16:creationId xmlns:a16="http://schemas.microsoft.com/office/drawing/2014/main" id="{53FF3411-3FAA-4F57-904B-61EB1DA1A5E7}"/>
                </a:ext>
              </a:extLst>
            </p:cNvPr>
            <p:cNvSpPr/>
            <p:nvPr/>
          </p:nvSpPr>
          <p:spPr bwMode="gray">
            <a:xfrm>
              <a:off x="5028329" y="4874670"/>
              <a:ext cx="812937" cy="619049"/>
            </a:xfrm>
            <a:custGeom>
              <a:avLst/>
              <a:gdLst>
                <a:gd name="connsiteX0" fmla="*/ 484441 w 812937"/>
                <a:gd name="connsiteY0" fmla="*/ 477282 h 619049"/>
                <a:gd name="connsiteX1" fmla="*/ 186730 w 812937"/>
                <a:gd name="connsiteY1" fmla="*/ 477282 h 619049"/>
                <a:gd name="connsiteX2" fmla="*/ 224534 w 812937"/>
                <a:gd name="connsiteY2" fmla="*/ 378045 h 619049"/>
                <a:gd name="connsiteX3" fmla="*/ 522245 w 812937"/>
                <a:gd name="connsiteY3" fmla="*/ 378045 h 619049"/>
                <a:gd name="connsiteX4" fmla="*/ 484441 w 812937"/>
                <a:gd name="connsiteY4" fmla="*/ 477282 h 619049"/>
                <a:gd name="connsiteX5" fmla="*/ 801053 w 812937"/>
                <a:gd name="connsiteY5" fmla="*/ 42530 h 619049"/>
                <a:gd name="connsiteX6" fmla="*/ 687640 w 812937"/>
                <a:gd name="connsiteY6" fmla="*/ 0 h 619049"/>
                <a:gd name="connsiteX7" fmla="*/ 200907 w 812937"/>
                <a:gd name="connsiteY7" fmla="*/ 0 h 619049"/>
                <a:gd name="connsiteX8" fmla="*/ 144200 w 812937"/>
                <a:gd name="connsiteY8" fmla="*/ 141767 h 619049"/>
                <a:gd name="connsiteX9" fmla="*/ 621482 w 812937"/>
                <a:gd name="connsiteY9" fmla="*/ 141767 h 619049"/>
                <a:gd name="connsiteX10" fmla="*/ 583677 w 812937"/>
                <a:gd name="connsiteY10" fmla="*/ 241004 h 619049"/>
                <a:gd name="connsiteX11" fmla="*/ 271790 w 812937"/>
                <a:gd name="connsiteY11" fmla="*/ 241004 h 619049"/>
                <a:gd name="connsiteX12" fmla="*/ 54414 w 812937"/>
                <a:gd name="connsiteY12" fmla="*/ 368594 h 619049"/>
                <a:gd name="connsiteX13" fmla="*/ 7158 w 812937"/>
                <a:gd name="connsiteY13" fmla="*/ 486733 h 619049"/>
                <a:gd name="connsiteX14" fmla="*/ 11884 w 812937"/>
                <a:gd name="connsiteY14" fmla="*/ 576519 h 619049"/>
                <a:gd name="connsiteX15" fmla="*/ 125297 w 812937"/>
                <a:gd name="connsiteY15" fmla="*/ 619049 h 619049"/>
                <a:gd name="connsiteX16" fmla="*/ 607305 w 812937"/>
                <a:gd name="connsiteY16" fmla="*/ 619049 h 619049"/>
                <a:gd name="connsiteX17" fmla="*/ 805779 w 812937"/>
                <a:gd name="connsiteY17" fmla="*/ 132316 h 619049"/>
                <a:gd name="connsiteX18" fmla="*/ 801053 w 812937"/>
                <a:gd name="connsiteY18" fmla="*/ 42530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2937" h="619049">
                  <a:moveTo>
                    <a:pt x="484441" y="477282"/>
                  </a:moveTo>
                  <a:lnTo>
                    <a:pt x="186730" y="477282"/>
                  </a:lnTo>
                  <a:lnTo>
                    <a:pt x="224534" y="378045"/>
                  </a:lnTo>
                  <a:lnTo>
                    <a:pt x="522245" y="378045"/>
                  </a:lnTo>
                  <a:lnTo>
                    <a:pt x="484441" y="477282"/>
                  </a:lnTo>
                  <a:close/>
                  <a:moveTo>
                    <a:pt x="801053" y="42530"/>
                  </a:moveTo>
                  <a:cubicBezTo>
                    <a:pt x="782151" y="14177"/>
                    <a:pt x="744347" y="0"/>
                    <a:pt x="687640" y="0"/>
                  </a:cubicBezTo>
                  <a:lnTo>
                    <a:pt x="200907" y="0"/>
                  </a:lnTo>
                  <a:lnTo>
                    <a:pt x="144200" y="141767"/>
                  </a:lnTo>
                  <a:lnTo>
                    <a:pt x="621482" y="141767"/>
                  </a:lnTo>
                  <a:lnTo>
                    <a:pt x="583677" y="241004"/>
                  </a:lnTo>
                  <a:lnTo>
                    <a:pt x="271790" y="241004"/>
                  </a:lnTo>
                  <a:cubicBezTo>
                    <a:pt x="106395" y="241004"/>
                    <a:pt x="54414" y="363869"/>
                    <a:pt x="54414" y="368594"/>
                  </a:cubicBezTo>
                  <a:lnTo>
                    <a:pt x="7158" y="486733"/>
                  </a:lnTo>
                  <a:cubicBezTo>
                    <a:pt x="7158" y="486733"/>
                    <a:pt x="-11744" y="538715"/>
                    <a:pt x="11884" y="576519"/>
                  </a:cubicBezTo>
                  <a:cubicBezTo>
                    <a:pt x="30786" y="604872"/>
                    <a:pt x="68591" y="619049"/>
                    <a:pt x="125297" y="619049"/>
                  </a:cubicBezTo>
                  <a:lnTo>
                    <a:pt x="607305" y="619049"/>
                  </a:lnTo>
                  <a:lnTo>
                    <a:pt x="805779" y="132316"/>
                  </a:lnTo>
                  <a:cubicBezTo>
                    <a:pt x="805779" y="127590"/>
                    <a:pt x="824681" y="80335"/>
                    <a:pt x="801053" y="42530"/>
                  </a:cubicBezTo>
                </a:path>
              </a:pathLst>
            </a:custGeom>
            <a:solidFill>
              <a:srgbClr val="000000"/>
            </a:solidFill>
            <a:ln w="47234" cap="flat">
              <a:noFill/>
              <a:prstDash val="solid"/>
              <a:miter/>
            </a:ln>
          </p:spPr>
          <p:txBody>
            <a:bodyPr rtlCol="0" anchor="ctr"/>
            <a:lstStyle/>
            <a:p>
              <a:endParaRPr lang="de-AT"/>
            </a:p>
          </p:txBody>
        </p:sp>
        <p:sp>
          <p:nvSpPr>
            <p:cNvPr id="31" name="Freihandform: Form 30">
              <a:extLst>
                <a:ext uri="{FF2B5EF4-FFF2-40B4-BE49-F238E27FC236}">
                  <a16:creationId xmlns:a16="http://schemas.microsoft.com/office/drawing/2014/main" id="{AA89CDDC-5ED6-49EE-A47A-597347AB453F}"/>
                </a:ext>
              </a:extLst>
            </p:cNvPr>
            <p:cNvSpPr/>
            <p:nvPr/>
          </p:nvSpPr>
          <p:spPr bwMode="gray">
            <a:xfrm>
              <a:off x="5701793" y="4874670"/>
              <a:ext cx="923918" cy="765541"/>
            </a:xfrm>
            <a:custGeom>
              <a:avLst/>
              <a:gdLst>
                <a:gd name="connsiteX0" fmla="*/ 595421 w 923918"/>
                <a:gd name="connsiteY0" fmla="*/ 477282 h 765541"/>
                <a:gd name="connsiteX1" fmla="*/ 297711 w 923918"/>
                <a:gd name="connsiteY1" fmla="*/ 477282 h 765541"/>
                <a:gd name="connsiteX2" fmla="*/ 434752 w 923918"/>
                <a:gd name="connsiteY2" fmla="*/ 137041 h 765541"/>
                <a:gd name="connsiteX3" fmla="*/ 732463 w 923918"/>
                <a:gd name="connsiteY3" fmla="*/ 137041 h 765541"/>
                <a:gd name="connsiteX4" fmla="*/ 595421 w 923918"/>
                <a:gd name="connsiteY4" fmla="*/ 477282 h 765541"/>
                <a:gd name="connsiteX5" fmla="*/ 912034 w 923918"/>
                <a:gd name="connsiteY5" fmla="*/ 42530 h 765541"/>
                <a:gd name="connsiteX6" fmla="*/ 798621 w 923918"/>
                <a:gd name="connsiteY6" fmla="*/ 0 h 765541"/>
                <a:gd name="connsiteX7" fmla="*/ 311887 w 923918"/>
                <a:gd name="connsiteY7" fmla="*/ 0 h 765541"/>
                <a:gd name="connsiteX8" fmla="*/ 0 w 923918"/>
                <a:gd name="connsiteY8" fmla="*/ 765542 h 765541"/>
                <a:gd name="connsiteX9" fmla="*/ 179572 w 923918"/>
                <a:gd name="connsiteY9" fmla="*/ 765542 h 765541"/>
                <a:gd name="connsiteX10" fmla="*/ 241004 w 923918"/>
                <a:gd name="connsiteY10" fmla="*/ 619049 h 765541"/>
                <a:gd name="connsiteX11" fmla="*/ 552891 w 923918"/>
                <a:gd name="connsiteY11" fmla="*/ 619049 h 765541"/>
                <a:gd name="connsiteX12" fmla="*/ 770267 w 923918"/>
                <a:gd name="connsiteY12" fmla="*/ 491459 h 765541"/>
                <a:gd name="connsiteX13" fmla="*/ 916760 w 923918"/>
                <a:gd name="connsiteY13" fmla="*/ 132316 h 765541"/>
                <a:gd name="connsiteX14" fmla="*/ 912034 w 923918"/>
                <a:gd name="connsiteY14" fmla="*/ 42530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3918" h="765541">
                  <a:moveTo>
                    <a:pt x="595421" y="477282"/>
                  </a:moveTo>
                  <a:lnTo>
                    <a:pt x="297711" y="477282"/>
                  </a:lnTo>
                  <a:lnTo>
                    <a:pt x="434752" y="137041"/>
                  </a:lnTo>
                  <a:lnTo>
                    <a:pt x="732463" y="137041"/>
                  </a:lnTo>
                  <a:lnTo>
                    <a:pt x="595421" y="477282"/>
                  </a:lnTo>
                  <a:close/>
                  <a:moveTo>
                    <a:pt x="912034" y="42530"/>
                  </a:moveTo>
                  <a:cubicBezTo>
                    <a:pt x="893132" y="14177"/>
                    <a:pt x="855328" y="0"/>
                    <a:pt x="798621" y="0"/>
                  </a:cubicBezTo>
                  <a:lnTo>
                    <a:pt x="311887" y="0"/>
                  </a:lnTo>
                  <a:lnTo>
                    <a:pt x="0" y="765542"/>
                  </a:lnTo>
                  <a:lnTo>
                    <a:pt x="179572" y="765542"/>
                  </a:lnTo>
                  <a:lnTo>
                    <a:pt x="241004" y="619049"/>
                  </a:lnTo>
                  <a:lnTo>
                    <a:pt x="552891" y="619049"/>
                  </a:lnTo>
                  <a:cubicBezTo>
                    <a:pt x="557617" y="619049"/>
                    <a:pt x="718286" y="619049"/>
                    <a:pt x="770267" y="491459"/>
                  </a:cubicBezTo>
                  <a:lnTo>
                    <a:pt x="916760" y="132316"/>
                  </a:lnTo>
                  <a:cubicBezTo>
                    <a:pt x="916760" y="127590"/>
                    <a:pt x="935662" y="80335"/>
                    <a:pt x="912034" y="42530"/>
                  </a:cubicBezTo>
                </a:path>
              </a:pathLst>
            </a:custGeom>
            <a:solidFill>
              <a:srgbClr val="000000"/>
            </a:solidFill>
            <a:ln w="47234" cap="flat">
              <a:noFill/>
              <a:prstDash val="solid"/>
              <a:miter/>
            </a:ln>
          </p:spPr>
          <p:txBody>
            <a:bodyPr rtlCol="0" anchor="ctr"/>
            <a:lstStyle/>
            <a:p>
              <a:endParaRPr lang="de-AT"/>
            </a:p>
          </p:txBody>
        </p:sp>
        <p:sp>
          <p:nvSpPr>
            <p:cNvPr id="32" name="Freihandform: Form 31">
              <a:extLst>
                <a:ext uri="{FF2B5EF4-FFF2-40B4-BE49-F238E27FC236}">
                  <a16:creationId xmlns:a16="http://schemas.microsoft.com/office/drawing/2014/main" id="{BFE9633F-8310-49E9-AB4E-187ED685C150}"/>
                </a:ext>
              </a:extLst>
            </p:cNvPr>
            <p:cNvSpPr/>
            <p:nvPr/>
          </p:nvSpPr>
          <p:spPr bwMode="gray">
            <a:xfrm>
              <a:off x="6528767" y="4869944"/>
              <a:ext cx="826974" cy="619049"/>
            </a:xfrm>
            <a:custGeom>
              <a:avLst/>
              <a:gdLst>
                <a:gd name="connsiteX0" fmla="*/ 619049 w 826974"/>
                <a:gd name="connsiteY0" fmla="*/ 241004 h 619049"/>
                <a:gd name="connsiteX1" fmla="*/ 316613 w 826974"/>
                <a:gd name="connsiteY1" fmla="*/ 241004 h 619049"/>
                <a:gd name="connsiteX2" fmla="*/ 354418 w 826974"/>
                <a:gd name="connsiteY2" fmla="*/ 141767 h 619049"/>
                <a:gd name="connsiteX3" fmla="*/ 770267 w 826974"/>
                <a:gd name="connsiteY3" fmla="*/ 141767 h 619049"/>
                <a:gd name="connsiteX4" fmla="*/ 826974 w 826974"/>
                <a:gd name="connsiteY4" fmla="*/ 0 h 619049"/>
                <a:gd name="connsiteX5" fmla="*/ 396948 w 826974"/>
                <a:gd name="connsiteY5" fmla="*/ 0 h 619049"/>
                <a:gd name="connsiteX6" fmla="*/ 179571 w 826974"/>
                <a:gd name="connsiteY6" fmla="*/ 127590 h 619049"/>
                <a:gd name="connsiteX7" fmla="*/ 132316 w 826974"/>
                <a:gd name="connsiteY7" fmla="*/ 245729 h 619049"/>
                <a:gd name="connsiteX8" fmla="*/ 137042 w 826974"/>
                <a:gd name="connsiteY8" fmla="*/ 335515 h 619049"/>
                <a:gd name="connsiteX9" fmla="*/ 250455 w 826974"/>
                <a:gd name="connsiteY9" fmla="*/ 378045 h 619049"/>
                <a:gd name="connsiteX10" fmla="*/ 552891 w 826974"/>
                <a:gd name="connsiteY10" fmla="*/ 378045 h 619049"/>
                <a:gd name="connsiteX11" fmla="*/ 515087 w 826974"/>
                <a:gd name="connsiteY11" fmla="*/ 477282 h 619049"/>
                <a:gd name="connsiteX12" fmla="*/ 56707 w 826974"/>
                <a:gd name="connsiteY12" fmla="*/ 477282 h 619049"/>
                <a:gd name="connsiteX13" fmla="*/ 0 w 826974"/>
                <a:gd name="connsiteY13" fmla="*/ 619049 h 619049"/>
                <a:gd name="connsiteX14" fmla="*/ 472557 w 826974"/>
                <a:gd name="connsiteY14" fmla="*/ 619049 h 619049"/>
                <a:gd name="connsiteX15" fmla="*/ 689933 w 826974"/>
                <a:gd name="connsiteY15" fmla="*/ 491459 h 619049"/>
                <a:gd name="connsiteX16" fmla="*/ 737188 w 826974"/>
                <a:gd name="connsiteY16" fmla="*/ 373320 h 619049"/>
                <a:gd name="connsiteX17" fmla="*/ 737188 w 826974"/>
                <a:gd name="connsiteY17" fmla="*/ 288259 h 619049"/>
                <a:gd name="connsiteX18" fmla="*/ 619049 w 826974"/>
                <a:gd name="connsiteY18" fmla="*/ 241004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6974" h="619049">
                  <a:moveTo>
                    <a:pt x="619049" y="241004"/>
                  </a:moveTo>
                  <a:lnTo>
                    <a:pt x="316613" y="241004"/>
                  </a:lnTo>
                  <a:lnTo>
                    <a:pt x="354418" y="141767"/>
                  </a:lnTo>
                  <a:lnTo>
                    <a:pt x="770267" y="141767"/>
                  </a:lnTo>
                  <a:lnTo>
                    <a:pt x="826974" y="0"/>
                  </a:lnTo>
                  <a:lnTo>
                    <a:pt x="396948" y="0"/>
                  </a:lnTo>
                  <a:cubicBezTo>
                    <a:pt x="392222" y="0"/>
                    <a:pt x="231553" y="0"/>
                    <a:pt x="179571" y="127590"/>
                  </a:cubicBezTo>
                  <a:lnTo>
                    <a:pt x="132316" y="245729"/>
                  </a:lnTo>
                  <a:cubicBezTo>
                    <a:pt x="132316" y="245729"/>
                    <a:pt x="113414" y="297711"/>
                    <a:pt x="137042" y="335515"/>
                  </a:cubicBezTo>
                  <a:cubicBezTo>
                    <a:pt x="155943" y="363869"/>
                    <a:pt x="193748" y="378045"/>
                    <a:pt x="250455" y="378045"/>
                  </a:cubicBezTo>
                  <a:lnTo>
                    <a:pt x="552891" y="378045"/>
                  </a:lnTo>
                  <a:lnTo>
                    <a:pt x="515087" y="477282"/>
                  </a:lnTo>
                  <a:lnTo>
                    <a:pt x="56707" y="477282"/>
                  </a:lnTo>
                  <a:lnTo>
                    <a:pt x="0" y="619049"/>
                  </a:lnTo>
                  <a:lnTo>
                    <a:pt x="472557" y="619049"/>
                  </a:lnTo>
                  <a:cubicBezTo>
                    <a:pt x="637952" y="619049"/>
                    <a:pt x="689933" y="496184"/>
                    <a:pt x="689933" y="491459"/>
                  </a:cubicBezTo>
                  <a:lnTo>
                    <a:pt x="737188" y="373320"/>
                  </a:lnTo>
                  <a:cubicBezTo>
                    <a:pt x="751365" y="340241"/>
                    <a:pt x="751365" y="311887"/>
                    <a:pt x="737188" y="288259"/>
                  </a:cubicBezTo>
                  <a:cubicBezTo>
                    <a:pt x="704110" y="241004"/>
                    <a:pt x="623775" y="241004"/>
                    <a:pt x="619049" y="241004"/>
                  </a:cubicBezTo>
                </a:path>
              </a:pathLst>
            </a:custGeom>
            <a:solidFill>
              <a:srgbClr val="000000"/>
            </a:solidFill>
            <a:ln w="47234" cap="flat">
              <a:noFill/>
              <a:prstDash val="solid"/>
              <a:miter/>
            </a:ln>
          </p:spPr>
          <p:txBody>
            <a:bodyPr rtlCol="0" anchor="ctr"/>
            <a:lstStyle/>
            <a:p>
              <a:endParaRPr lang="de-AT"/>
            </a:p>
          </p:txBody>
        </p:sp>
        <p:sp>
          <p:nvSpPr>
            <p:cNvPr id="33" name="Freihandform: Form 32">
              <a:extLst>
                <a:ext uri="{FF2B5EF4-FFF2-40B4-BE49-F238E27FC236}">
                  <a16:creationId xmlns:a16="http://schemas.microsoft.com/office/drawing/2014/main" id="{8A8AEE81-AF3E-4923-AC32-321052BD694A}"/>
                </a:ext>
              </a:extLst>
            </p:cNvPr>
            <p:cNvSpPr/>
            <p:nvPr/>
          </p:nvSpPr>
          <p:spPr bwMode="gray">
            <a:xfrm>
              <a:off x="7970065" y="4723451"/>
              <a:ext cx="862485" cy="765541"/>
            </a:xfrm>
            <a:custGeom>
              <a:avLst/>
              <a:gdLst>
                <a:gd name="connsiteX0" fmla="*/ 732463 w 862485"/>
                <a:gd name="connsiteY0" fmla="*/ 146493 h 765541"/>
                <a:gd name="connsiteX1" fmla="*/ 430027 w 862485"/>
                <a:gd name="connsiteY1" fmla="*/ 146493 h 765541"/>
                <a:gd name="connsiteX2" fmla="*/ 486733 w 862485"/>
                <a:gd name="connsiteY2" fmla="*/ 0 h 765541"/>
                <a:gd name="connsiteX3" fmla="*/ 307162 w 862485"/>
                <a:gd name="connsiteY3" fmla="*/ 0 h 765541"/>
                <a:gd name="connsiteX4" fmla="*/ 0 w 862485"/>
                <a:gd name="connsiteY4" fmla="*/ 765542 h 765541"/>
                <a:gd name="connsiteX5" fmla="*/ 179571 w 862485"/>
                <a:gd name="connsiteY5" fmla="*/ 765542 h 765541"/>
                <a:gd name="connsiteX6" fmla="*/ 373320 w 862485"/>
                <a:gd name="connsiteY6" fmla="*/ 288260 h 765541"/>
                <a:gd name="connsiteX7" fmla="*/ 671030 w 862485"/>
                <a:gd name="connsiteY7" fmla="*/ 288260 h 765541"/>
                <a:gd name="connsiteX8" fmla="*/ 477282 w 862485"/>
                <a:gd name="connsiteY8" fmla="*/ 765542 h 765541"/>
                <a:gd name="connsiteX9" fmla="*/ 656854 w 862485"/>
                <a:gd name="connsiteY9" fmla="*/ 765542 h 765541"/>
                <a:gd name="connsiteX10" fmla="*/ 855328 w 862485"/>
                <a:gd name="connsiteY10" fmla="*/ 278808 h 765541"/>
                <a:gd name="connsiteX11" fmla="*/ 850602 w 862485"/>
                <a:gd name="connsiteY11" fmla="*/ 189023 h 765541"/>
                <a:gd name="connsiteX12" fmla="*/ 732463 w 862485"/>
                <a:gd name="connsiteY12" fmla="*/ 146493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485" h="765541">
                  <a:moveTo>
                    <a:pt x="732463" y="146493"/>
                  </a:moveTo>
                  <a:lnTo>
                    <a:pt x="430027" y="146493"/>
                  </a:lnTo>
                  <a:lnTo>
                    <a:pt x="486733" y="0"/>
                  </a:lnTo>
                  <a:lnTo>
                    <a:pt x="307162" y="0"/>
                  </a:lnTo>
                  <a:lnTo>
                    <a:pt x="0" y="765542"/>
                  </a:lnTo>
                  <a:lnTo>
                    <a:pt x="179571" y="765542"/>
                  </a:lnTo>
                  <a:lnTo>
                    <a:pt x="373320" y="288260"/>
                  </a:lnTo>
                  <a:lnTo>
                    <a:pt x="671030" y="288260"/>
                  </a:lnTo>
                  <a:lnTo>
                    <a:pt x="477282" y="765542"/>
                  </a:lnTo>
                  <a:lnTo>
                    <a:pt x="656854" y="765542"/>
                  </a:lnTo>
                  <a:lnTo>
                    <a:pt x="855328" y="278808"/>
                  </a:lnTo>
                  <a:cubicBezTo>
                    <a:pt x="855328" y="278808"/>
                    <a:pt x="874230" y="226827"/>
                    <a:pt x="850602" y="189023"/>
                  </a:cubicBezTo>
                  <a:cubicBezTo>
                    <a:pt x="826974" y="160669"/>
                    <a:pt x="789170" y="146493"/>
                    <a:pt x="732463" y="146493"/>
                  </a:cubicBezTo>
                </a:path>
              </a:pathLst>
            </a:custGeom>
            <a:solidFill>
              <a:srgbClr val="000000"/>
            </a:solidFill>
            <a:ln w="47234" cap="flat">
              <a:noFill/>
              <a:prstDash val="solid"/>
              <a:miter/>
            </a:ln>
          </p:spPr>
          <p:txBody>
            <a:bodyPr rtlCol="0" anchor="ctr"/>
            <a:lstStyle/>
            <a:p>
              <a:endParaRPr lang="de-AT"/>
            </a:p>
          </p:txBody>
        </p:sp>
        <p:sp>
          <p:nvSpPr>
            <p:cNvPr id="34" name="Freihandform: Form 33">
              <a:extLst>
                <a:ext uri="{FF2B5EF4-FFF2-40B4-BE49-F238E27FC236}">
                  <a16:creationId xmlns:a16="http://schemas.microsoft.com/office/drawing/2014/main" id="{43673052-88AC-4653-A430-09F825B85B1B}"/>
                </a:ext>
              </a:extLst>
            </p:cNvPr>
            <p:cNvSpPr/>
            <p:nvPr/>
          </p:nvSpPr>
          <p:spPr bwMode="gray">
            <a:xfrm>
              <a:off x="7296601" y="4869944"/>
              <a:ext cx="819955" cy="619049"/>
            </a:xfrm>
            <a:custGeom>
              <a:avLst/>
              <a:gdLst>
                <a:gd name="connsiteX0" fmla="*/ 328497 w 819955"/>
                <a:gd name="connsiteY0" fmla="*/ 141767 h 619049"/>
                <a:gd name="connsiteX1" fmla="*/ 763249 w 819955"/>
                <a:gd name="connsiteY1" fmla="*/ 141767 h 619049"/>
                <a:gd name="connsiteX2" fmla="*/ 819956 w 819955"/>
                <a:gd name="connsiteY2" fmla="*/ 0 h 619049"/>
                <a:gd name="connsiteX3" fmla="*/ 366301 w 819955"/>
                <a:gd name="connsiteY3" fmla="*/ 0 h 619049"/>
                <a:gd name="connsiteX4" fmla="*/ 148925 w 819955"/>
                <a:gd name="connsiteY4" fmla="*/ 127590 h 619049"/>
                <a:gd name="connsiteX5" fmla="*/ 7158 w 819955"/>
                <a:gd name="connsiteY5" fmla="*/ 486733 h 619049"/>
                <a:gd name="connsiteX6" fmla="*/ 11884 w 819955"/>
                <a:gd name="connsiteY6" fmla="*/ 576519 h 619049"/>
                <a:gd name="connsiteX7" fmla="*/ 125297 w 819955"/>
                <a:gd name="connsiteY7" fmla="*/ 619049 h 619049"/>
                <a:gd name="connsiteX8" fmla="*/ 569500 w 819955"/>
                <a:gd name="connsiteY8" fmla="*/ 619049 h 619049"/>
                <a:gd name="connsiteX9" fmla="*/ 626207 w 819955"/>
                <a:gd name="connsiteY9" fmla="*/ 477282 h 619049"/>
                <a:gd name="connsiteX10" fmla="*/ 191455 w 819955"/>
                <a:gd name="connsiteY10" fmla="*/ 477282 h 619049"/>
                <a:gd name="connsiteX11" fmla="*/ 328497 w 819955"/>
                <a:gd name="connsiteY11" fmla="*/ 141767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955" h="619049">
                  <a:moveTo>
                    <a:pt x="328497" y="141767"/>
                  </a:moveTo>
                  <a:lnTo>
                    <a:pt x="763249" y="141767"/>
                  </a:lnTo>
                  <a:lnTo>
                    <a:pt x="819956" y="0"/>
                  </a:lnTo>
                  <a:lnTo>
                    <a:pt x="366301" y="0"/>
                  </a:lnTo>
                  <a:cubicBezTo>
                    <a:pt x="361576" y="0"/>
                    <a:pt x="200906" y="0"/>
                    <a:pt x="148925" y="127590"/>
                  </a:cubicBezTo>
                  <a:lnTo>
                    <a:pt x="7158" y="486733"/>
                  </a:lnTo>
                  <a:cubicBezTo>
                    <a:pt x="7158" y="486733"/>
                    <a:pt x="-11744" y="538714"/>
                    <a:pt x="11884" y="576519"/>
                  </a:cubicBezTo>
                  <a:cubicBezTo>
                    <a:pt x="30786" y="604872"/>
                    <a:pt x="68590" y="619049"/>
                    <a:pt x="125297" y="619049"/>
                  </a:cubicBezTo>
                  <a:lnTo>
                    <a:pt x="569500" y="619049"/>
                  </a:lnTo>
                  <a:lnTo>
                    <a:pt x="626207" y="477282"/>
                  </a:lnTo>
                  <a:lnTo>
                    <a:pt x="191455" y="477282"/>
                  </a:lnTo>
                  <a:lnTo>
                    <a:pt x="328497" y="141767"/>
                  </a:lnTo>
                  <a:close/>
                </a:path>
              </a:pathLst>
            </a:custGeom>
            <a:solidFill>
              <a:srgbClr val="000000"/>
            </a:solidFill>
            <a:ln w="47234" cap="flat">
              <a:noFill/>
              <a:prstDash val="solid"/>
              <a:miter/>
            </a:ln>
          </p:spPr>
          <p:txBody>
            <a:bodyPr rtlCol="0" anchor="ctr"/>
            <a:lstStyle/>
            <a:p>
              <a:endParaRPr lang="de-AT"/>
            </a:p>
          </p:txBody>
        </p:sp>
      </p:grpSp>
      <p:grpSp>
        <p:nvGrpSpPr>
          <p:cNvPr id="35" name="Gruppieren 34">
            <a:extLst>
              <a:ext uri="{FF2B5EF4-FFF2-40B4-BE49-F238E27FC236}">
                <a16:creationId xmlns:a16="http://schemas.microsoft.com/office/drawing/2014/main" id="{01A52822-3F0B-4155-BBCD-8CAEA8B7580A}"/>
              </a:ext>
            </a:extLst>
          </p:cNvPr>
          <p:cNvGrpSpPr/>
          <p:nvPr userDrawn="1">
            <p:custDataLst>
              <p:tags r:id="rId2"/>
            </p:custDataLst>
          </p:nvPr>
        </p:nvGrpSpPr>
        <p:grpSpPr bwMode="gray">
          <a:xfrm>
            <a:off x="6415353" y="5644937"/>
            <a:ext cx="3600881" cy="382770"/>
            <a:chOff x="6415353" y="5644937"/>
            <a:chExt cx="3600881" cy="382770"/>
          </a:xfrm>
        </p:grpSpPr>
        <p:sp>
          <p:nvSpPr>
            <p:cNvPr id="36" name="Freihandform: Form 35">
              <a:extLst>
                <a:ext uri="{FF2B5EF4-FFF2-40B4-BE49-F238E27FC236}">
                  <a16:creationId xmlns:a16="http://schemas.microsoft.com/office/drawing/2014/main" id="{15985D21-8F32-4D18-A4CF-B1BE65CBEB56}"/>
                </a:ext>
              </a:extLst>
            </p:cNvPr>
            <p:cNvSpPr/>
            <p:nvPr/>
          </p:nvSpPr>
          <p:spPr bwMode="gray">
            <a:xfrm>
              <a:off x="7152541" y="5644937"/>
              <a:ext cx="118139" cy="297710"/>
            </a:xfrm>
            <a:custGeom>
              <a:avLst/>
              <a:gdLst>
                <a:gd name="connsiteX0" fmla="*/ 61433 w 118139"/>
                <a:gd name="connsiteY0" fmla="*/ 0 h 297710"/>
                <a:gd name="connsiteX1" fmla="*/ 118139 w 118139"/>
                <a:gd name="connsiteY1" fmla="*/ 0 h 297710"/>
                <a:gd name="connsiteX2" fmla="*/ 56707 w 118139"/>
                <a:gd name="connsiteY2" fmla="*/ 297711 h 297710"/>
                <a:gd name="connsiteX3" fmla="*/ 0 w 118139"/>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18139" h="297710">
                  <a:moveTo>
                    <a:pt x="61433" y="0"/>
                  </a:moveTo>
                  <a:lnTo>
                    <a:pt x="118139" y="0"/>
                  </a:lnTo>
                  <a:lnTo>
                    <a:pt x="56707"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37" name="Freihandform: Form 36">
              <a:extLst>
                <a:ext uri="{FF2B5EF4-FFF2-40B4-BE49-F238E27FC236}">
                  <a16:creationId xmlns:a16="http://schemas.microsoft.com/office/drawing/2014/main" id="{8C3F9E97-AAC4-4984-ACE3-97FEF70E2959}"/>
                </a:ext>
              </a:extLst>
            </p:cNvPr>
            <p:cNvSpPr/>
            <p:nvPr/>
          </p:nvSpPr>
          <p:spPr bwMode="gray">
            <a:xfrm>
              <a:off x="7265955" y="5644937"/>
              <a:ext cx="122864" cy="297710"/>
            </a:xfrm>
            <a:custGeom>
              <a:avLst/>
              <a:gdLst>
                <a:gd name="connsiteX0" fmla="*/ 61433 w 122864"/>
                <a:gd name="connsiteY0" fmla="*/ 0 h 297710"/>
                <a:gd name="connsiteX1" fmla="*/ 122865 w 122864"/>
                <a:gd name="connsiteY1" fmla="*/ 0 h 297710"/>
                <a:gd name="connsiteX2" fmla="*/ 61433 w 122864"/>
                <a:gd name="connsiteY2" fmla="*/ 297711 h 297710"/>
                <a:gd name="connsiteX3" fmla="*/ 0 w 122864"/>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22864" h="297710">
                  <a:moveTo>
                    <a:pt x="61433" y="0"/>
                  </a:moveTo>
                  <a:lnTo>
                    <a:pt x="122865" y="0"/>
                  </a:lnTo>
                  <a:lnTo>
                    <a:pt x="61433"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38" name="Freihandform: Form 37">
              <a:extLst>
                <a:ext uri="{FF2B5EF4-FFF2-40B4-BE49-F238E27FC236}">
                  <a16:creationId xmlns:a16="http://schemas.microsoft.com/office/drawing/2014/main" id="{5492A55E-BB4C-4663-999C-96ED6D5E1D5D}"/>
                </a:ext>
              </a:extLst>
            </p:cNvPr>
            <p:cNvSpPr/>
            <p:nvPr/>
          </p:nvSpPr>
          <p:spPr bwMode="gray">
            <a:xfrm>
              <a:off x="8149636" y="5649662"/>
              <a:ext cx="122865" cy="292985"/>
            </a:xfrm>
            <a:custGeom>
              <a:avLst/>
              <a:gdLst>
                <a:gd name="connsiteX0" fmla="*/ 113414 w 122865"/>
                <a:gd name="connsiteY0" fmla="*/ 47256 h 292985"/>
                <a:gd name="connsiteX1" fmla="*/ 51982 w 122865"/>
                <a:gd name="connsiteY1" fmla="*/ 47256 h 292985"/>
                <a:gd name="connsiteX2" fmla="*/ 61433 w 122865"/>
                <a:gd name="connsiteY2" fmla="*/ 0 h 292985"/>
                <a:gd name="connsiteX3" fmla="*/ 122865 w 122865"/>
                <a:gd name="connsiteY3" fmla="*/ 0 h 292985"/>
                <a:gd name="connsiteX4" fmla="*/ 113414 w 122865"/>
                <a:gd name="connsiteY4" fmla="*/ 47256 h 292985"/>
                <a:gd name="connsiteX5" fmla="*/ 47256 w 122865"/>
                <a:gd name="connsiteY5" fmla="*/ 80335 h 292985"/>
                <a:gd name="connsiteX6" fmla="*/ 108688 w 122865"/>
                <a:gd name="connsiteY6" fmla="*/ 80335 h 292985"/>
                <a:gd name="connsiteX7" fmla="*/ 61433 w 122865"/>
                <a:gd name="connsiteY7" fmla="*/ 292985 h 292985"/>
                <a:gd name="connsiteX8" fmla="*/ 0 w 122865"/>
                <a:gd name="connsiteY8" fmla="*/ 292985 h 292985"/>
                <a:gd name="connsiteX9" fmla="*/ 47256 w 122865"/>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5" h="292985">
                  <a:moveTo>
                    <a:pt x="113414" y="47256"/>
                  </a:moveTo>
                  <a:lnTo>
                    <a:pt x="51982" y="47256"/>
                  </a:lnTo>
                  <a:lnTo>
                    <a:pt x="61433" y="0"/>
                  </a:lnTo>
                  <a:lnTo>
                    <a:pt x="122865" y="0"/>
                  </a:lnTo>
                  <a:lnTo>
                    <a:pt x="113414" y="47256"/>
                  </a:lnTo>
                  <a:close/>
                  <a:moveTo>
                    <a:pt x="47256" y="80335"/>
                  </a:moveTo>
                  <a:lnTo>
                    <a:pt x="108688" y="80335"/>
                  </a:lnTo>
                  <a:lnTo>
                    <a:pt x="61433"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39" name="Freihandform: Form 38">
              <a:extLst>
                <a:ext uri="{FF2B5EF4-FFF2-40B4-BE49-F238E27FC236}">
                  <a16:creationId xmlns:a16="http://schemas.microsoft.com/office/drawing/2014/main" id="{1C4F4B0C-D0FF-47B9-B56E-185AC23B987C}"/>
                </a:ext>
              </a:extLst>
            </p:cNvPr>
            <p:cNvSpPr/>
            <p:nvPr/>
          </p:nvSpPr>
          <p:spPr bwMode="gray">
            <a:xfrm>
              <a:off x="8915178" y="5644937"/>
              <a:ext cx="122864" cy="297710"/>
            </a:xfrm>
            <a:custGeom>
              <a:avLst/>
              <a:gdLst>
                <a:gd name="connsiteX0" fmla="*/ 61432 w 122864"/>
                <a:gd name="connsiteY0" fmla="*/ 0 h 297710"/>
                <a:gd name="connsiteX1" fmla="*/ 122865 w 122864"/>
                <a:gd name="connsiteY1" fmla="*/ 0 h 297710"/>
                <a:gd name="connsiteX2" fmla="*/ 56707 w 122864"/>
                <a:gd name="connsiteY2" fmla="*/ 297711 h 297710"/>
                <a:gd name="connsiteX3" fmla="*/ 0 w 122864"/>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22864" h="297710">
                  <a:moveTo>
                    <a:pt x="61432" y="0"/>
                  </a:moveTo>
                  <a:lnTo>
                    <a:pt x="122865" y="0"/>
                  </a:lnTo>
                  <a:lnTo>
                    <a:pt x="56707"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40" name="Freihandform: Form 39">
              <a:extLst>
                <a:ext uri="{FF2B5EF4-FFF2-40B4-BE49-F238E27FC236}">
                  <a16:creationId xmlns:a16="http://schemas.microsoft.com/office/drawing/2014/main" id="{79F9EA0F-CF6C-4110-A02C-D69FF2652C96}"/>
                </a:ext>
              </a:extLst>
            </p:cNvPr>
            <p:cNvSpPr/>
            <p:nvPr/>
          </p:nvSpPr>
          <p:spPr bwMode="gray">
            <a:xfrm>
              <a:off x="9028592" y="5649662"/>
              <a:ext cx="122864" cy="292985"/>
            </a:xfrm>
            <a:custGeom>
              <a:avLst/>
              <a:gdLst>
                <a:gd name="connsiteX0" fmla="*/ 113413 w 122864"/>
                <a:gd name="connsiteY0" fmla="*/ 47256 h 292985"/>
                <a:gd name="connsiteX1" fmla="*/ 51981 w 122864"/>
                <a:gd name="connsiteY1" fmla="*/ 47256 h 292985"/>
                <a:gd name="connsiteX2" fmla="*/ 61432 w 122864"/>
                <a:gd name="connsiteY2" fmla="*/ 0 h 292985"/>
                <a:gd name="connsiteX3" fmla="*/ 122864 w 122864"/>
                <a:gd name="connsiteY3" fmla="*/ 0 h 292985"/>
                <a:gd name="connsiteX4" fmla="*/ 113413 w 122864"/>
                <a:gd name="connsiteY4" fmla="*/ 47256 h 292985"/>
                <a:gd name="connsiteX5" fmla="*/ 47256 w 122864"/>
                <a:gd name="connsiteY5" fmla="*/ 80335 h 292985"/>
                <a:gd name="connsiteX6" fmla="*/ 108688 w 122864"/>
                <a:gd name="connsiteY6" fmla="*/ 80335 h 292985"/>
                <a:gd name="connsiteX7" fmla="*/ 61432 w 122864"/>
                <a:gd name="connsiteY7" fmla="*/ 292985 h 292985"/>
                <a:gd name="connsiteX8" fmla="*/ 0 w 122864"/>
                <a:gd name="connsiteY8" fmla="*/ 292985 h 292985"/>
                <a:gd name="connsiteX9" fmla="*/ 47256 w 122864"/>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4" h="292985">
                  <a:moveTo>
                    <a:pt x="113413" y="47256"/>
                  </a:moveTo>
                  <a:lnTo>
                    <a:pt x="51981" y="47256"/>
                  </a:lnTo>
                  <a:lnTo>
                    <a:pt x="61432" y="0"/>
                  </a:lnTo>
                  <a:lnTo>
                    <a:pt x="122864" y="0"/>
                  </a:lnTo>
                  <a:lnTo>
                    <a:pt x="113413" y="47256"/>
                  </a:lnTo>
                  <a:close/>
                  <a:moveTo>
                    <a:pt x="47256" y="80335"/>
                  </a:moveTo>
                  <a:lnTo>
                    <a:pt x="108688" y="80335"/>
                  </a:lnTo>
                  <a:lnTo>
                    <a:pt x="61432"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41" name="Freihandform: Form 40">
              <a:extLst>
                <a:ext uri="{FF2B5EF4-FFF2-40B4-BE49-F238E27FC236}">
                  <a16:creationId xmlns:a16="http://schemas.microsoft.com/office/drawing/2014/main" id="{7A39467C-1313-4AE1-9E4D-956605507EFC}"/>
                </a:ext>
              </a:extLst>
            </p:cNvPr>
            <p:cNvSpPr/>
            <p:nvPr/>
          </p:nvSpPr>
          <p:spPr bwMode="gray">
            <a:xfrm>
              <a:off x="9529501" y="5649662"/>
              <a:ext cx="122865" cy="292985"/>
            </a:xfrm>
            <a:custGeom>
              <a:avLst/>
              <a:gdLst>
                <a:gd name="connsiteX0" fmla="*/ 113414 w 122865"/>
                <a:gd name="connsiteY0" fmla="*/ 47256 h 292985"/>
                <a:gd name="connsiteX1" fmla="*/ 51982 w 122865"/>
                <a:gd name="connsiteY1" fmla="*/ 47256 h 292985"/>
                <a:gd name="connsiteX2" fmla="*/ 61433 w 122865"/>
                <a:gd name="connsiteY2" fmla="*/ 0 h 292985"/>
                <a:gd name="connsiteX3" fmla="*/ 122865 w 122865"/>
                <a:gd name="connsiteY3" fmla="*/ 0 h 292985"/>
                <a:gd name="connsiteX4" fmla="*/ 113414 w 122865"/>
                <a:gd name="connsiteY4" fmla="*/ 47256 h 292985"/>
                <a:gd name="connsiteX5" fmla="*/ 47256 w 122865"/>
                <a:gd name="connsiteY5" fmla="*/ 80335 h 292985"/>
                <a:gd name="connsiteX6" fmla="*/ 108688 w 122865"/>
                <a:gd name="connsiteY6" fmla="*/ 80335 h 292985"/>
                <a:gd name="connsiteX7" fmla="*/ 61433 w 122865"/>
                <a:gd name="connsiteY7" fmla="*/ 292985 h 292985"/>
                <a:gd name="connsiteX8" fmla="*/ 0 w 122865"/>
                <a:gd name="connsiteY8" fmla="*/ 292985 h 292985"/>
                <a:gd name="connsiteX9" fmla="*/ 47256 w 122865"/>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5" h="292985">
                  <a:moveTo>
                    <a:pt x="113414" y="47256"/>
                  </a:moveTo>
                  <a:lnTo>
                    <a:pt x="51982" y="47256"/>
                  </a:lnTo>
                  <a:lnTo>
                    <a:pt x="61433" y="0"/>
                  </a:lnTo>
                  <a:lnTo>
                    <a:pt x="122865" y="0"/>
                  </a:lnTo>
                  <a:lnTo>
                    <a:pt x="113414" y="47256"/>
                  </a:lnTo>
                  <a:close/>
                  <a:moveTo>
                    <a:pt x="47256" y="80335"/>
                  </a:moveTo>
                  <a:lnTo>
                    <a:pt x="108688" y="80335"/>
                  </a:lnTo>
                  <a:lnTo>
                    <a:pt x="61433"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42" name="Freihandform: Form 41">
              <a:extLst>
                <a:ext uri="{FF2B5EF4-FFF2-40B4-BE49-F238E27FC236}">
                  <a16:creationId xmlns:a16="http://schemas.microsoft.com/office/drawing/2014/main" id="{020196F2-3B83-43CD-8F2A-25FB81C09EA0}"/>
                </a:ext>
              </a:extLst>
            </p:cNvPr>
            <p:cNvSpPr/>
            <p:nvPr/>
          </p:nvSpPr>
          <p:spPr bwMode="gray">
            <a:xfrm>
              <a:off x="6415353" y="5725271"/>
              <a:ext cx="217375" cy="222101"/>
            </a:xfrm>
            <a:custGeom>
              <a:avLst/>
              <a:gdLst>
                <a:gd name="connsiteX0" fmla="*/ 155944 w 217375"/>
                <a:gd name="connsiteY0" fmla="*/ 75609 h 222101"/>
                <a:gd name="connsiteX1" fmla="*/ 118139 w 217375"/>
                <a:gd name="connsiteY1" fmla="*/ 37804 h 222101"/>
                <a:gd name="connsiteX2" fmla="*/ 56707 w 217375"/>
                <a:gd name="connsiteY2" fmla="*/ 127590 h 222101"/>
                <a:gd name="connsiteX3" fmla="*/ 99237 w 217375"/>
                <a:gd name="connsiteY3" fmla="*/ 174846 h 222101"/>
                <a:gd name="connsiteX4" fmla="*/ 146493 w 217375"/>
                <a:gd name="connsiteY4" fmla="*/ 137041 h 222101"/>
                <a:gd name="connsiteX5" fmla="*/ 203200 w 217375"/>
                <a:gd name="connsiteY5" fmla="*/ 137041 h 222101"/>
                <a:gd name="connsiteX6" fmla="*/ 94511 w 217375"/>
                <a:gd name="connsiteY6" fmla="*/ 222102 h 222101"/>
                <a:gd name="connsiteX7" fmla="*/ 0 w 217375"/>
                <a:gd name="connsiteY7" fmla="*/ 132316 h 222101"/>
                <a:gd name="connsiteX8" fmla="*/ 122865 w 217375"/>
                <a:gd name="connsiteY8" fmla="*/ 0 h 222101"/>
                <a:gd name="connsiteX9" fmla="*/ 217376 w 217375"/>
                <a:gd name="connsiteY9" fmla="*/ 80335 h 222101"/>
                <a:gd name="connsiteX10" fmla="*/ 155944 w 217375"/>
                <a:gd name="connsiteY10" fmla="*/ 80335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375" h="222101">
                  <a:moveTo>
                    <a:pt x="155944" y="75609"/>
                  </a:moveTo>
                  <a:cubicBezTo>
                    <a:pt x="155944" y="51981"/>
                    <a:pt x="141767" y="37804"/>
                    <a:pt x="118139" y="37804"/>
                  </a:cubicBezTo>
                  <a:cubicBezTo>
                    <a:pt x="75609" y="37804"/>
                    <a:pt x="56707" y="89786"/>
                    <a:pt x="56707" y="127590"/>
                  </a:cubicBezTo>
                  <a:cubicBezTo>
                    <a:pt x="56707" y="151218"/>
                    <a:pt x="66158" y="174846"/>
                    <a:pt x="99237" y="174846"/>
                  </a:cubicBezTo>
                  <a:cubicBezTo>
                    <a:pt x="127590" y="174846"/>
                    <a:pt x="141767" y="155944"/>
                    <a:pt x="146493" y="137041"/>
                  </a:cubicBezTo>
                  <a:lnTo>
                    <a:pt x="203200" y="137041"/>
                  </a:lnTo>
                  <a:cubicBezTo>
                    <a:pt x="184297" y="189023"/>
                    <a:pt x="146493" y="222102"/>
                    <a:pt x="94511" y="222102"/>
                  </a:cubicBezTo>
                  <a:cubicBezTo>
                    <a:pt x="33079" y="222102"/>
                    <a:pt x="0" y="193748"/>
                    <a:pt x="0" y="132316"/>
                  </a:cubicBezTo>
                  <a:cubicBezTo>
                    <a:pt x="0" y="61432"/>
                    <a:pt x="42530" y="0"/>
                    <a:pt x="122865" y="0"/>
                  </a:cubicBezTo>
                  <a:cubicBezTo>
                    <a:pt x="174846" y="0"/>
                    <a:pt x="217376" y="23628"/>
                    <a:pt x="217376" y="80335"/>
                  </a:cubicBezTo>
                  <a:lnTo>
                    <a:pt x="155944" y="80335"/>
                  </a:lnTo>
                  <a:close/>
                </a:path>
              </a:pathLst>
            </a:custGeom>
            <a:solidFill>
              <a:srgbClr val="000000"/>
            </a:solidFill>
            <a:ln w="47234" cap="flat">
              <a:noFill/>
              <a:prstDash val="solid"/>
              <a:miter/>
            </a:ln>
          </p:spPr>
          <p:txBody>
            <a:bodyPr rtlCol="0" anchor="ctr"/>
            <a:lstStyle/>
            <a:p>
              <a:endParaRPr lang="de-AT"/>
            </a:p>
          </p:txBody>
        </p:sp>
        <p:sp>
          <p:nvSpPr>
            <p:cNvPr id="43" name="Freihandform: Form 42">
              <a:extLst>
                <a:ext uri="{FF2B5EF4-FFF2-40B4-BE49-F238E27FC236}">
                  <a16:creationId xmlns:a16="http://schemas.microsoft.com/office/drawing/2014/main" id="{86AFE962-BB42-4F38-8A17-6190751FA89F}"/>
                </a:ext>
              </a:extLst>
            </p:cNvPr>
            <p:cNvSpPr/>
            <p:nvPr/>
          </p:nvSpPr>
          <p:spPr bwMode="gray">
            <a:xfrm>
              <a:off x="6642180" y="5644937"/>
              <a:ext cx="226826" cy="302436"/>
            </a:xfrm>
            <a:custGeom>
              <a:avLst/>
              <a:gdLst>
                <a:gd name="connsiteX0" fmla="*/ 61432 w 226826"/>
                <a:gd name="connsiteY0" fmla="*/ 0 h 302436"/>
                <a:gd name="connsiteX1" fmla="*/ 118139 w 226826"/>
                <a:gd name="connsiteY1" fmla="*/ 0 h 302436"/>
                <a:gd name="connsiteX2" fmla="*/ 94511 w 226826"/>
                <a:gd name="connsiteY2" fmla="*/ 108688 h 302436"/>
                <a:gd name="connsiteX3" fmla="*/ 94511 w 226826"/>
                <a:gd name="connsiteY3" fmla="*/ 108688 h 302436"/>
                <a:gd name="connsiteX4" fmla="*/ 165395 w 226826"/>
                <a:gd name="connsiteY4" fmla="*/ 80335 h 302436"/>
                <a:gd name="connsiteX5" fmla="*/ 226827 w 226826"/>
                <a:gd name="connsiteY5" fmla="*/ 137041 h 302436"/>
                <a:gd name="connsiteX6" fmla="*/ 222101 w 226826"/>
                <a:gd name="connsiteY6" fmla="*/ 174846 h 302436"/>
                <a:gd name="connsiteX7" fmla="*/ 193748 w 226826"/>
                <a:gd name="connsiteY7" fmla="*/ 302436 h 302436"/>
                <a:gd name="connsiteX8" fmla="*/ 137041 w 226826"/>
                <a:gd name="connsiteY8" fmla="*/ 302436 h 302436"/>
                <a:gd name="connsiteX9" fmla="*/ 165395 w 226826"/>
                <a:gd name="connsiteY9" fmla="*/ 174846 h 302436"/>
                <a:gd name="connsiteX10" fmla="*/ 170120 w 226826"/>
                <a:gd name="connsiteY10" fmla="*/ 146493 h 302436"/>
                <a:gd name="connsiteX11" fmla="*/ 141767 w 226826"/>
                <a:gd name="connsiteY11" fmla="*/ 122865 h 302436"/>
                <a:gd name="connsiteX12" fmla="*/ 80334 w 226826"/>
                <a:gd name="connsiteY12" fmla="*/ 184297 h 302436"/>
                <a:gd name="connsiteX13" fmla="*/ 56707 w 226826"/>
                <a:gd name="connsiteY13" fmla="*/ 297711 h 302436"/>
                <a:gd name="connsiteX14" fmla="*/ 0 w 226826"/>
                <a:gd name="connsiteY14" fmla="*/ 297711 h 302436"/>
                <a:gd name="connsiteX15" fmla="*/ 61432 w 226826"/>
                <a:gd name="connsiteY15" fmla="*/ 0 h 30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302436">
                  <a:moveTo>
                    <a:pt x="61432" y="0"/>
                  </a:moveTo>
                  <a:lnTo>
                    <a:pt x="118139" y="0"/>
                  </a:lnTo>
                  <a:lnTo>
                    <a:pt x="94511" y="108688"/>
                  </a:lnTo>
                  <a:lnTo>
                    <a:pt x="94511" y="108688"/>
                  </a:lnTo>
                  <a:cubicBezTo>
                    <a:pt x="103962" y="94511"/>
                    <a:pt x="127590" y="80335"/>
                    <a:pt x="165395" y="80335"/>
                  </a:cubicBezTo>
                  <a:cubicBezTo>
                    <a:pt x="207925" y="80335"/>
                    <a:pt x="226827" y="99237"/>
                    <a:pt x="226827" y="137041"/>
                  </a:cubicBezTo>
                  <a:cubicBezTo>
                    <a:pt x="226827" y="146493"/>
                    <a:pt x="222101" y="165395"/>
                    <a:pt x="222101" y="174846"/>
                  </a:cubicBezTo>
                  <a:lnTo>
                    <a:pt x="193748" y="302436"/>
                  </a:lnTo>
                  <a:lnTo>
                    <a:pt x="137041" y="302436"/>
                  </a:lnTo>
                  <a:lnTo>
                    <a:pt x="165395" y="174846"/>
                  </a:lnTo>
                  <a:cubicBezTo>
                    <a:pt x="165395" y="170120"/>
                    <a:pt x="170120" y="155944"/>
                    <a:pt x="170120" y="146493"/>
                  </a:cubicBezTo>
                  <a:cubicBezTo>
                    <a:pt x="170120" y="132316"/>
                    <a:pt x="155943" y="122865"/>
                    <a:pt x="141767" y="122865"/>
                  </a:cubicBezTo>
                  <a:cubicBezTo>
                    <a:pt x="103962" y="122865"/>
                    <a:pt x="89785" y="151218"/>
                    <a:pt x="80334" y="184297"/>
                  </a:cubicBezTo>
                  <a:lnTo>
                    <a:pt x="56707" y="297711"/>
                  </a:lnTo>
                  <a:lnTo>
                    <a:pt x="0" y="297711"/>
                  </a:lnTo>
                  <a:lnTo>
                    <a:pt x="61432" y="0"/>
                  </a:lnTo>
                  <a:close/>
                </a:path>
              </a:pathLst>
            </a:custGeom>
            <a:solidFill>
              <a:srgbClr val="000000"/>
            </a:solidFill>
            <a:ln w="47234" cap="flat">
              <a:noFill/>
              <a:prstDash val="solid"/>
              <a:miter/>
            </a:ln>
          </p:spPr>
          <p:txBody>
            <a:bodyPr rtlCol="0" anchor="ctr"/>
            <a:lstStyle/>
            <a:p>
              <a:endParaRPr lang="de-AT"/>
            </a:p>
          </p:txBody>
        </p:sp>
        <p:sp>
          <p:nvSpPr>
            <p:cNvPr id="44" name="Freihandform: Form 43">
              <a:extLst>
                <a:ext uri="{FF2B5EF4-FFF2-40B4-BE49-F238E27FC236}">
                  <a16:creationId xmlns:a16="http://schemas.microsoft.com/office/drawing/2014/main" id="{2307C0C1-E5CF-4411-AE84-92268EEA6296}"/>
                </a:ext>
              </a:extLst>
            </p:cNvPr>
            <p:cNvSpPr/>
            <p:nvPr/>
          </p:nvSpPr>
          <p:spPr bwMode="gray">
            <a:xfrm>
              <a:off x="6902087" y="5720546"/>
              <a:ext cx="226826" cy="231552"/>
            </a:xfrm>
            <a:custGeom>
              <a:avLst/>
              <a:gdLst>
                <a:gd name="connsiteX0" fmla="*/ 155943 w 226826"/>
                <a:gd name="connsiteY0" fmla="*/ 118139 h 231552"/>
                <a:gd name="connsiteX1" fmla="*/ 103962 w 226826"/>
                <a:gd name="connsiteY1" fmla="*/ 127590 h 231552"/>
                <a:gd name="connsiteX2" fmla="*/ 61432 w 226826"/>
                <a:gd name="connsiteY2" fmla="*/ 160669 h 231552"/>
                <a:gd name="connsiteX3" fmla="*/ 94511 w 226826"/>
                <a:gd name="connsiteY3" fmla="*/ 184297 h 231552"/>
                <a:gd name="connsiteX4" fmla="*/ 151218 w 226826"/>
                <a:gd name="connsiteY4" fmla="*/ 137041 h 231552"/>
                <a:gd name="connsiteX5" fmla="*/ 155943 w 226826"/>
                <a:gd name="connsiteY5" fmla="*/ 118139 h 231552"/>
                <a:gd name="connsiteX6" fmla="*/ 33079 w 226826"/>
                <a:gd name="connsiteY6" fmla="*/ 70883 h 231552"/>
                <a:gd name="connsiteX7" fmla="*/ 137041 w 226826"/>
                <a:gd name="connsiteY7" fmla="*/ 0 h 231552"/>
                <a:gd name="connsiteX8" fmla="*/ 226827 w 226826"/>
                <a:gd name="connsiteY8" fmla="*/ 56707 h 231552"/>
                <a:gd name="connsiteX9" fmla="*/ 222101 w 226826"/>
                <a:gd name="connsiteY9" fmla="*/ 94511 h 231552"/>
                <a:gd name="connsiteX10" fmla="*/ 198474 w 226826"/>
                <a:gd name="connsiteY10" fmla="*/ 179571 h 231552"/>
                <a:gd name="connsiteX11" fmla="*/ 193748 w 226826"/>
                <a:gd name="connsiteY11" fmla="*/ 207925 h 231552"/>
                <a:gd name="connsiteX12" fmla="*/ 193748 w 226826"/>
                <a:gd name="connsiteY12" fmla="*/ 222102 h 231552"/>
                <a:gd name="connsiteX13" fmla="*/ 137041 w 226826"/>
                <a:gd name="connsiteY13" fmla="*/ 222102 h 231552"/>
                <a:gd name="connsiteX14" fmla="*/ 137041 w 226826"/>
                <a:gd name="connsiteY14" fmla="*/ 203199 h 231552"/>
                <a:gd name="connsiteX15" fmla="*/ 70884 w 226826"/>
                <a:gd name="connsiteY15" fmla="*/ 231553 h 231552"/>
                <a:gd name="connsiteX16" fmla="*/ 0 w 226826"/>
                <a:gd name="connsiteY16" fmla="*/ 174846 h 231552"/>
                <a:gd name="connsiteX17" fmla="*/ 80334 w 226826"/>
                <a:gd name="connsiteY17" fmla="*/ 103962 h 231552"/>
                <a:gd name="connsiteX18" fmla="*/ 160669 w 226826"/>
                <a:gd name="connsiteY18" fmla="*/ 70883 h 231552"/>
                <a:gd name="connsiteX19" fmla="*/ 122865 w 226826"/>
                <a:gd name="connsiteY19" fmla="*/ 42530 h 231552"/>
                <a:gd name="connsiteX20" fmla="*/ 80334 w 226826"/>
                <a:gd name="connsiteY20" fmla="*/ 75609 h 231552"/>
                <a:gd name="connsiteX21" fmla="*/ 33079 w 226826"/>
                <a:gd name="connsiteY21" fmla="*/ 75609 h 23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6826" h="231552">
                  <a:moveTo>
                    <a:pt x="155943" y="118139"/>
                  </a:moveTo>
                  <a:cubicBezTo>
                    <a:pt x="141767" y="127590"/>
                    <a:pt x="122865" y="127590"/>
                    <a:pt x="103962" y="127590"/>
                  </a:cubicBezTo>
                  <a:cubicBezTo>
                    <a:pt x="80334" y="132316"/>
                    <a:pt x="61432" y="137041"/>
                    <a:pt x="61432" y="160669"/>
                  </a:cubicBezTo>
                  <a:cubicBezTo>
                    <a:pt x="61432" y="174846"/>
                    <a:pt x="75609" y="184297"/>
                    <a:pt x="94511" y="184297"/>
                  </a:cubicBezTo>
                  <a:cubicBezTo>
                    <a:pt x="132316" y="184297"/>
                    <a:pt x="141767" y="160669"/>
                    <a:pt x="151218" y="137041"/>
                  </a:cubicBezTo>
                  <a:lnTo>
                    <a:pt x="155943" y="118139"/>
                  </a:lnTo>
                  <a:close/>
                  <a:moveTo>
                    <a:pt x="33079" y="70883"/>
                  </a:moveTo>
                  <a:cubicBezTo>
                    <a:pt x="42530" y="18902"/>
                    <a:pt x="85060" y="0"/>
                    <a:pt x="137041" y="0"/>
                  </a:cubicBezTo>
                  <a:cubicBezTo>
                    <a:pt x="174846" y="0"/>
                    <a:pt x="226827" y="9451"/>
                    <a:pt x="226827" y="56707"/>
                  </a:cubicBezTo>
                  <a:cubicBezTo>
                    <a:pt x="226827" y="66158"/>
                    <a:pt x="226827" y="80335"/>
                    <a:pt x="222101" y="94511"/>
                  </a:cubicBezTo>
                  <a:lnTo>
                    <a:pt x="198474" y="179571"/>
                  </a:lnTo>
                  <a:cubicBezTo>
                    <a:pt x="198474" y="189023"/>
                    <a:pt x="193748" y="198474"/>
                    <a:pt x="193748" y="207925"/>
                  </a:cubicBezTo>
                  <a:cubicBezTo>
                    <a:pt x="193748" y="212650"/>
                    <a:pt x="193748" y="217376"/>
                    <a:pt x="193748" y="222102"/>
                  </a:cubicBezTo>
                  <a:lnTo>
                    <a:pt x="137041" y="222102"/>
                  </a:lnTo>
                  <a:lnTo>
                    <a:pt x="137041" y="203199"/>
                  </a:lnTo>
                  <a:cubicBezTo>
                    <a:pt x="122865" y="222102"/>
                    <a:pt x="94511" y="231553"/>
                    <a:pt x="70884" y="231553"/>
                  </a:cubicBezTo>
                  <a:cubicBezTo>
                    <a:pt x="23628" y="231553"/>
                    <a:pt x="0" y="203199"/>
                    <a:pt x="0" y="174846"/>
                  </a:cubicBezTo>
                  <a:cubicBezTo>
                    <a:pt x="0" y="132316"/>
                    <a:pt x="33079" y="108688"/>
                    <a:pt x="80334" y="103962"/>
                  </a:cubicBezTo>
                  <a:cubicBezTo>
                    <a:pt x="137041" y="99237"/>
                    <a:pt x="160669" y="99237"/>
                    <a:pt x="160669" y="70883"/>
                  </a:cubicBezTo>
                  <a:cubicBezTo>
                    <a:pt x="160669" y="51981"/>
                    <a:pt x="137041" y="42530"/>
                    <a:pt x="122865" y="42530"/>
                  </a:cubicBezTo>
                  <a:cubicBezTo>
                    <a:pt x="103962" y="42530"/>
                    <a:pt x="85060" y="51981"/>
                    <a:pt x="80334" y="75609"/>
                  </a:cubicBezTo>
                  <a:lnTo>
                    <a:pt x="33079" y="75609"/>
                  </a:lnTo>
                  <a:close/>
                </a:path>
              </a:pathLst>
            </a:custGeom>
            <a:solidFill>
              <a:srgbClr val="000000"/>
            </a:solidFill>
            <a:ln w="47234" cap="flat">
              <a:noFill/>
              <a:prstDash val="solid"/>
              <a:miter/>
            </a:ln>
          </p:spPr>
          <p:txBody>
            <a:bodyPr rtlCol="0" anchor="ctr"/>
            <a:lstStyle/>
            <a:p>
              <a:endParaRPr lang="de-AT"/>
            </a:p>
          </p:txBody>
        </p:sp>
        <p:sp>
          <p:nvSpPr>
            <p:cNvPr id="45" name="Freihandform: Form 44">
              <a:extLst>
                <a:ext uri="{FF2B5EF4-FFF2-40B4-BE49-F238E27FC236}">
                  <a16:creationId xmlns:a16="http://schemas.microsoft.com/office/drawing/2014/main" id="{6C9E4EC5-CED0-499A-98F5-5DD2F44BD665}"/>
                </a:ext>
              </a:extLst>
            </p:cNvPr>
            <p:cNvSpPr/>
            <p:nvPr/>
          </p:nvSpPr>
          <p:spPr bwMode="gray">
            <a:xfrm>
              <a:off x="7384094" y="5725271"/>
              <a:ext cx="217375" cy="226827"/>
            </a:xfrm>
            <a:custGeom>
              <a:avLst/>
              <a:gdLst>
                <a:gd name="connsiteX0" fmla="*/ 170120 w 217375"/>
                <a:gd name="connsiteY0" fmla="*/ 85060 h 226827"/>
                <a:gd name="connsiteX1" fmla="*/ 132316 w 217375"/>
                <a:gd name="connsiteY1" fmla="*/ 37804 h 226827"/>
                <a:gd name="connsiteX2" fmla="*/ 75609 w 217375"/>
                <a:gd name="connsiteY2" fmla="*/ 85060 h 226827"/>
                <a:gd name="connsiteX3" fmla="*/ 170120 w 217375"/>
                <a:gd name="connsiteY3" fmla="*/ 85060 h 226827"/>
                <a:gd name="connsiteX4" fmla="*/ 61433 w 217375"/>
                <a:gd name="connsiteY4" fmla="*/ 122865 h 226827"/>
                <a:gd name="connsiteX5" fmla="*/ 61433 w 217375"/>
                <a:gd name="connsiteY5" fmla="*/ 137041 h 226827"/>
                <a:gd name="connsiteX6" fmla="*/ 108688 w 217375"/>
                <a:gd name="connsiteY6" fmla="*/ 179571 h 226827"/>
                <a:gd name="connsiteX7" fmla="*/ 151218 w 217375"/>
                <a:gd name="connsiteY7" fmla="*/ 151218 h 226827"/>
                <a:gd name="connsiteX8" fmla="*/ 207925 w 217375"/>
                <a:gd name="connsiteY8" fmla="*/ 151218 h 226827"/>
                <a:gd name="connsiteX9" fmla="*/ 94511 w 217375"/>
                <a:gd name="connsiteY9" fmla="*/ 226827 h 226827"/>
                <a:gd name="connsiteX10" fmla="*/ 0 w 217375"/>
                <a:gd name="connsiteY10" fmla="*/ 132316 h 226827"/>
                <a:gd name="connsiteX11" fmla="*/ 118139 w 217375"/>
                <a:gd name="connsiteY11" fmla="*/ 0 h 226827"/>
                <a:gd name="connsiteX12" fmla="*/ 217376 w 217375"/>
                <a:gd name="connsiteY12" fmla="*/ 94511 h 226827"/>
                <a:gd name="connsiteX13" fmla="*/ 212651 w 217375"/>
                <a:gd name="connsiteY13" fmla="*/ 127590 h 226827"/>
                <a:gd name="connsiteX14" fmla="*/ 61433 w 217375"/>
                <a:gd name="connsiteY14" fmla="*/ 127590 h 22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375" h="226827">
                  <a:moveTo>
                    <a:pt x="170120" y="85060"/>
                  </a:moveTo>
                  <a:cubicBezTo>
                    <a:pt x="170120" y="61432"/>
                    <a:pt x="165395" y="37804"/>
                    <a:pt x="132316" y="37804"/>
                  </a:cubicBezTo>
                  <a:cubicBezTo>
                    <a:pt x="99237" y="37804"/>
                    <a:pt x="80334" y="61432"/>
                    <a:pt x="75609" y="85060"/>
                  </a:cubicBezTo>
                  <a:lnTo>
                    <a:pt x="170120" y="85060"/>
                  </a:lnTo>
                  <a:close/>
                  <a:moveTo>
                    <a:pt x="61433" y="122865"/>
                  </a:moveTo>
                  <a:cubicBezTo>
                    <a:pt x="61433" y="127590"/>
                    <a:pt x="61433" y="132316"/>
                    <a:pt x="61433" y="137041"/>
                  </a:cubicBezTo>
                  <a:cubicBezTo>
                    <a:pt x="61433" y="160669"/>
                    <a:pt x="75609" y="179571"/>
                    <a:pt x="108688" y="179571"/>
                  </a:cubicBezTo>
                  <a:cubicBezTo>
                    <a:pt x="132316" y="179571"/>
                    <a:pt x="141767" y="165395"/>
                    <a:pt x="151218" y="151218"/>
                  </a:cubicBezTo>
                  <a:lnTo>
                    <a:pt x="207925" y="151218"/>
                  </a:lnTo>
                  <a:cubicBezTo>
                    <a:pt x="189023" y="198474"/>
                    <a:pt x="160669" y="226827"/>
                    <a:pt x="94511" y="226827"/>
                  </a:cubicBezTo>
                  <a:cubicBezTo>
                    <a:pt x="37805" y="226827"/>
                    <a:pt x="0" y="193748"/>
                    <a:pt x="0" y="132316"/>
                  </a:cubicBezTo>
                  <a:cubicBezTo>
                    <a:pt x="0" y="66158"/>
                    <a:pt x="47256" y="0"/>
                    <a:pt x="118139" y="0"/>
                  </a:cubicBezTo>
                  <a:cubicBezTo>
                    <a:pt x="179572" y="0"/>
                    <a:pt x="217376" y="33079"/>
                    <a:pt x="217376" y="94511"/>
                  </a:cubicBezTo>
                  <a:cubicBezTo>
                    <a:pt x="217376" y="103962"/>
                    <a:pt x="217376" y="118139"/>
                    <a:pt x="212651" y="127590"/>
                  </a:cubicBezTo>
                  <a:lnTo>
                    <a:pt x="61433" y="127590"/>
                  </a:lnTo>
                  <a:close/>
                </a:path>
              </a:pathLst>
            </a:custGeom>
            <a:solidFill>
              <a:srgbClr val="000000"/>
            </a:solidFill>
            <a:ln w="47234" cap="flat">
              <a:noFill/>
              <a:prstDash val="solid"/>
              <a:miter/>
            </a:ln>
          </p:spPr>
          <p:txBody>
            <a:bodyPr rtlCol="0" anchor="ctr"/>
            <a:lstStyle/>
            <a:p>
              <a:endParaRPr lang="de-AT"/>
            </a:p>
          </p:txBody>
        </p:sp>
        <p:sp>
          <p:nvSpPr>
            <p:cNvPr id="46" name="Freihandform: Form 45">
              <a:extLst>
                <a:ext uri="{FF2B5EF4-FFF2-40B4-BE49-F238E27FC236}">
                  <a16:creationId xmlns:a16="http://schemas.microsoft.com/office/drawing/2014/main" id="{DBA37502-F3BC-48F8-9E9F-E1B04CBC2F94}"/>
                </a:ext>
              </a:extLst>
            </p:cNvPr>
            <p:cNvSpPr/>
            <p:nvPr/>
          </p:nvSpPr>
          <p:spPr bwMode="gray">
            <a:xfrm>
              <a:off x="7634549" y="5720546"/>
              <a:ext cx="226826" cy="222101"/>
            </a:xfrm>
            <a:custGeom>
              <a:avLst/>
              <a:gdLst>
                <a:gd name="connsiteX0" fmla="*/ 37804 w 226826"/>
                <a:gd name="connsiteY0" fmla="*/ 9451 h 222101"/>
                <a:gd name="connsiteX1" fmla="*/ 94511 w 226826"/>
                <a:gd name="connsiteY1" fmla="*/ 9451 h 222101"/>
                <a:gd name="connsiteX2" fmla="*/ 89785 w 226826"/>
                <a:gd name="connsiteY2" fmla="*/ 37804 h 222101"/>
                <a:gd name="connsiteX3" fmla="*/ 89785 w 226826"/>
                <a:gd name="connsiteY3" fmla="*/ 37804 h 222101"/>
                <a:gd name="connsiteX4" fmla="*/ 165395 w 226826"/>
                <a:gd name="connsiteY4" fmla="*/ 0 h 222101"/>
                <a:gd name="connsiteX5" fmla="*/ 226827 w 226826"/>
                <a:gd name="connsiteY5" fmla="*/ 56707 h 222101"/>
                <a:gd name="connsiteX6" fmla="*/ 222101 w 226826"/>
                <a:gd name="connsiteY6" fmla="*/ 94511 h 222101"/>
                <a:gd name="connsiteX7" fmla="*/ 193748 w 226826"/>
                <a:gd name="connsiteY7" fmla="*/ 222102 h 222101"/>
                <a:gd name="connsiteX8" fmla="*/ 137041 w 226826"/>
                <a:gd name="connsiteY8" fmla="*/ 222102 h 222101"/>
                <a:gd name="connsiteX9" fmla="*/ 165395 w 226826"/>
                <a:gd name="connsiteY9" fmla="*/ 94511 h 222101"/>
                <a:gd name="connsiteX10" fmla="*/ 170120 w 226826"/>
                <a:gd name="connsiteY10" fmla="*/ 66158 h 222101"/>
                <a:gd name="connsiteX11" fmla="*/ 141767 w 226826"/>
                <a:gd name="connsiteY11" fmla="*/ 42530 h 222101"/>
                <a:gd name="connsiteX12" fmla="*/ 80334 w 226826"/>
                <a:gd name="connsiteY12" fmla="*/ 103962 h 222101"/>
                <a:gd name="connsiteX13" fmla="*/ 56707 w 226826"/>
                <a:gd name="connsiteY13" fmla="*/ 217376 h 222101"/>
                <a:gd name="connsiteX14" fmla="*/ 0 w 226826"/>
                <a:gd name="connsiteY14" fmla="*/ 217376 h 222101"/>
                <a:gd name="connsiteX15" fmla="*/ 37804 w 226826"/>
                <a:gd name="connsiteY15" fmla="*/ 9451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222101">
                  <a:moveTo>
                    <a:pt x="37804" y="9451"/>
                  </a:moveTo>
                  <a:lnTo>
                    <a:pt x="94511" y="9451"/>
                  </a:lnTo>
                  <a:lnTo>
                    <a:pt x="89785" y="37804"/>
                  </a:lnTo>
                  <a:lnTo>
                    <a:pt x="89785" y="37804"/>
                  </a:lnTo>
                  <a:cubicBezTo>
                    <a:pt x="108688" y="14177"/>
                    <a:pt x="132316" y="0"/>
                    <a:pt x="165395" y="0"/>
                  </a:cubicBezTo>
                  <a:cubicBezTo>
                    <a:pt x="207925" y="0"/>
                    <a:pt x="226827" y="18902"/>
                    <a:pt x="226827" y="56707"/>
                  </a:cubicBezTo>
                  <a:cubicBezTo>
                    <a:pt x="226827" y="66158"/>
                    <a:pt x="222101" y="85060"/>
                    <a:pt x="222101" y="94511"/>
                  </a:cubicBezTo>
                  <a:lnTo>
                    <a:pt x="193748" y="222102"/>
                  </a:lnTo>
                  <a:lnTo>
                    <a:pt x="137041" y="222102"/>
                  </a:lnTo>
                  <a:lnTo>
                    <a:pt x="165395" y="94511"/>
                  </a:lnTo>
                  <a:cubicBezTo>
                    <a:pt x="165395" y="89786"/>
                    <a:pt x="170120" y="75609"/>
                    <a:pt x="170120" y="66158"/>
                  </a:cubicBezTo>
                  <a:cubicBezTo>
                    <a:pt x="170120" y="51981"/>
                    <a:pt x="155943" y="42530"/>
                    <a:pt x="141767" y="42530"/>
                  </a:cubicBezTo>
                  <a:cubicBezTo>
                    <a:pt x="103962" y="42530"/>
                    <a:pt x="89785" y="70883"/>
                    <a:pt x="80334" y="103962"/>
                  </a:cubicBezTo>
                  <a:lnTo>
                    <a:pt x="56707" y="217376"/>
                  </a:lnTo>
                  <a:lnTo>
                    <a:pt x="0" y="217376"/>
                  </a:lnTo>
                  <a:lnTo>
                    <a:pt x="37804" y="9451"/>
                  </a:lnTo>
                  <a:close/>
                </a:path>
              </a:pathLst>
            </a:custGeom>
            <a:solidFill>
              <a:srgbClr val="000000"/>
            </a:solidFill>
            <a:ln w="47234" cap="flat">
              <a:noFill/>
              <a:prstDash val="solid"/>
              <a:miter/>
            </a:ln>
          </p:spPr>
          <p:txBody>
            <a:bodyPr rtlCol="0" anchor="ctr"/>
            <a:lstStyle/>
            <a:p>
              <a:endParaRPr lang="de-AT"/>
            </a:p>
          </p:txBody>
        </p:sp>
        <p:sp>
          <p:nvSpPr>
            <p:cNvPr id="47" name="Freihandform: Form 46">
              <a:extLst>
                <a:ext uri="{FF2B5EF4-FFF2-40B4-BE49-F238E27FC236}">
                  <a16:creationId xmlns:a16="http://schemas.microsoft.com/office/drawing/2014/main" id="{475153DD-AD37-4B03-8FA3-A8738E83C31A}"/>
                </a:ext>
              </a:extLst>
            </p:cNvPr>
            <p:cNvSpPr/>
            <p:nvPr/>
          </p:nvSpPr>
          <p:spPr bwMode="gray">
            <a:xfrm>
              <a:off x="7889730" y="5720546"/>
              <a:ext cx="255180" cy="307161"/>
            </a:xfrm>
            <a:custGeom>
              <a:avLst/>
              <a:gdLst>
                <a:gd name="connsiteX0" fmla="*/ 70884 w 255180"/>
                <a:gd name="connsiteY0" fmla="*/ 127590 h 307161"/>
                <a:gd name="connsiteX1" fmla="*/ 108688 w 255180"/>
                <a:gd name="connsiteY1" fmla="*/ 174846 h 307161"/>
                <a:gd name="connsiteX2" fmla="*/ 170121 w 255180"/>
                <a:gd name="connsiteY2" fmla="*/ 94511 h 307161"/>
                <a:gd name="connsiteX3" fmla="*/ 127591 w 255180"/>
                <a:gd name="connsiteY3" fmla="*/ 47256 h 307161"/>
                <a:gd name="connsiteX4" fmla="*/ 70884 w 255180"/>
                <a:gd name="connsiteY4" fmla="*/ 127590 h 307161"/>
                <a:gd name="connsiteX5" fmla="*/ 207925 w 255180"/>
                <a:gd name="connsiteY5" fmla="*/ 212650 h 307161"/>
                <a:gd name="connsiteX6" fmla="*/ 89786 w 255180"/>
                <a:gd name="connsiteY6" fmla="*/ 307162 h 307161"/>
                <a:gd name="connsiteX7" fmla="*/ 0 w 255180"/>
                <a:gd name="connsiteY7" fmla="*/ 236278 h 307161"/>
                <a:gd name="connsiteX8" fmla="*/ 56707 w 255180"/>
                <a:gd name="connsiteY8" fmla="*/ 236278 h 307161"/>
                <a:gd name="connsiteX9" fmla="*/ 94511 w 255180"/>
                <a:gd name="connsiteY9" fmla="*/ 264632 h 307161"/>
                <a:gd name="connsiteX10" fmla="*/ 155944 w 255180"/>
                <a:gd name="connsiteY10" fmla="*/ 189023 h 307161"/>
                <a:gd name="connsiteX11" fmla="*/ 155944 w 255180"/>
                <a:gd name="connsiteY11" fmla="*/ 189023 h 307161"/>
                <a:gd name="connsiteX12" fmla="*/ 99237 w 255180"/>
                <a:gd name="connsiteY12" fmla="*/ 217376 h 307161"/>
                <a:gd name="connsiteX13" fmla="*/ 18902 w 255180"/>
                <a:gd name="connsiteY13" fmla="*/ 127590 h 307161"/>
                <a:gd name="connsiteX14" fmla="*/ 127591 w 255180"/>
                <a:gd name="connsiteY14" fmla="*/ 0 h 307161"/>
                <a:gd name="connsiteX15" fmla="*/ 193749 w 255180"/>
                <a:gd name="connsiteY15" fmla="*/ 37804 h 307161"/>
                <a:gd name="connsiteX16" fmla="*/ 193749 w 255180"/>
                <a:gd name="connsiteY16" fmla="*/ 37804 h 307161"/>
                <a:gd name="connsiteX17" fmla="*/ 198474 w 255180"/>
                <a:gd name="connsiteY17" fmla="*/ 4725 h 307161"/>
                <a:gd name="connsiteX18" fmla="*/ 255181 w 255180"/>
                <a:gd name="connsiteY18" fmla="*/ 4725 h 307161"/>
                <a:gd name="connsiteX19" fmla="*/ 207925 w 255180"/>
                <a:gd name="connsiteY19" fmla="*/ 212650 h 3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180" h="307161">
                  <a:moveTo>
                    <a:pt x="70884" y="127590"/>
                  </a:moveTo>
                  <a:cubicBezTo>
                    <a:pt x="70884" y="151218"/>
                    <a:pt x="85060" y="174846"/>
                    <a:pt x="108688" y="174846"/>
                  </a:cubicBezTo>
                  <a:cubicBezTo>
                    <a:pt x="151218" y="174846"/>
                    <a:pt x="170121" y="127590"/>
                    <a:pt x="170121" y="94511"/>
                  </a:cubicBezTo>
                  <a:cubicBezTo>
                    <a:pt x="170121" y="66158"/>
                    <a:pt x="155944" y="47256"/>
                    <a:pt x="127591" y="47256"/>
                  </a:cubicBezTo>
                  <a:cubicBezTo>
                    <a:pt x="89786" y="47256"/>
                    <a:pt x="70884" y="94511"/>
                    <a:pt x="70884" y="127590"/>
                  </a:cubicBezTo>
                  <a:moveTo>
                    <a:pt x="207925" y="212650"/>
                  </a:moveTo>
                  <a:cubicBezTo>
                    <a:pt x="193749" y="278808"/>
                    <a:pt x="160669" y="307162"/>
                    <a:pt x="89786" y="307162"/>
                  </a:cubicBezTo>
                  <a:cubicBezTo>
                    <a:pt x="47256" y="307162"/>
                    <a:pt x="0" y="288259"/>
                    <a:pt x="0" y="236278"/>
                  </a:cubicBezTo>
                  <a:lnTo>
                    <a:pt x="56707" y="236278"/>
                  </a:lnTo>
                  <a:cubicBezTo>
                    <a:pt x="56707" y="259906"/>
                    <a:pt x="75609" y="264632"/>
                    <a:pt x="94511" y="264632"/>
                  </a:cubicBezTo>
                  <a:cubicBezTo>
                    <a:pt x="132316" y="264632"/>
                    <a:pt x="141767" y="231553"/>
                    <a:pt x="155944" y="189023"/>
                  </a:cubicBezTo>
                  <a:lnTo>
                    <a:pt x="155944" y="189023"/>
                  </a:lnTo>
                  <a:cubicBezTo>
                    <a:pt x="141767" y="207925"/>
                    <a:pt x="122865" y="217376"/>
                    <a:pt x="99237" y="217376"/>
                  </a:cubicBezTo>
                  <a:cubicBezTo>
                    <a:pt x="47256" y="217376"/>
                    <a:pt x="18902" y="184297"/>
                    <a:pt x="18902" y="127590"/>
                  </a:cubicBezTo>
                  <a:cubicBezTo>
                    <a:pt x="18902" y="66158"/>
                    <a:pt x="56707" y="0"/>
                    <a:pt x="127591" y="0"/>
                  </a:cubicBezTo>
                  <a:cubicBezTo>
                    <a:pt x="155944" y="0"/>
                    <a:pt x="179572" y="9451"/>
                    <a:pt x="193749" y="37804"/>
                  </a:cubicBezTo>
                  <a:lnTo>
                    <a:pt x="193749" y="37804"/>
                  </a:lnTo>
                  <a:lnTo>
                    <a:pt x="198474" y="4725"/>
                  </a:lnTo>
                  <a:lnTo>
                    <a:pt x="255181" y="4725"/>
                  </a:lnTo>
                  <a:lnTo>
                    <a:pt x="207925" y="212650"/>
                  </a:lnTo>
                  <a:close/>
                </a:path>
              </a:pathLst>
            </a:custGeom>
            <a:solidFill>
              <a:srgbClr val="000000"/>
            </a:solidFill>
            <a:ln w="47234" cap="flat">
              <a:noFill/>
              <a:prstDash val="solid"/>
              <a:miter/>
            </a:ln>
          </p:spPr>
          <p:txBody>
            <a:bodyPr rtlCol="0" anchor="ctr"/>
            <a:lstStyle/>
            <a:p>
              <a:endParaRPr lang="de-AT"/>
            </a:p>
          </p:txBody>
        </p:sp>
        <p:sp>
          <p:nvSpPr>
            <p:cNvPr id="48" name="Freihandform: Form 47">
              <a:extLst>
                <a:ext uri="{FF2B5EF4-FFF2-40B4-BE49-F238E27FC236}">
                  <a16:creationId xmlns:a16="http://schemas.microsoft.com/office/drawing/2014/main" id="{1A11D683-3E45-45A1-BEC0-F920AC6F7A30}"/>
                </a:ext>
              </a:extLst>
            </p:cNvPr>
            <p:cNvSpPr/>
            <p:nvPr/>
          </p:nvSpPr>
          <p:spPr bwMode="gray">
            <a:xfrm>
              <a:off x="8272501" y="5720546"/>
              <a:ext cx="226826" cy="222101"/>
            </a:xfrm>
            <a:custGeom>
              <a:avLst/>
              <a:gdLst>
                <a:gd name="connsiteX0" fmla="*/ 37804 w 226826"/>
                <a:gd name="connsiteY0" fmla="*/ 9451 h 222101"/>
                <a:gd name="connsiteX1" fmla="*/ 94511 w 226826"/>
                <a:gd name="connsiteY1" fmla="*/ 9451 h 222101"/>
                <a:gd name="connsiteX2" fmla="*/ 89785 w 226826"/>
                <a:gd name="connsiteY2" fmla="*/ 37804 h 222101"/>
                <a:gd name="connsiteX3" fmla="*/ 89785 w 226826"/>
                <a:gd name="connsiteY3" fmla="*/ 37804 h 222101"/>
                <a:gd name="connsiteX4" fmla="*/ 165395 w 226826"/>
                <a:gd name="connsiteY4" fmla="*/ 0 h 222101"/>
                <a:gd name="connsiteX5" fmla="*/ 226827 w 226826"/>
                <a:gd name="connsiteY5" fmla="*/ 56707 h 222101"/>
                <a:gd name="connsiteX6" fmla="*/ 222101 w 226826"/>
                <a:gd name="connsiteY6" fmla="*/ 94511 h 222101"/>
                <a:gd name="connsiteX7" fmla="*/ 193748 w 226826"/>
                <a:gd name="connsiteY7" fmla="*/ 222102 h 222101"/>
                <a:gd name="connsiteX8" fmla="*/ 137041 w 226826"/>
                <a:gd name="connsiteY8" fmla="*/ 222102 h 222101"/>
                <a:gd name="connsiteX9" fmla="*/ 165395 w 226826"/>
                <a:gd name="connsiteY9" fmla="*/ 94511 h 222101"/>
                <a:gd name="connsiteX10" fmla="*/ 170120 w 226826"/>
                <a:gd name="connsiteY10" fmla="*/ 66158 h 222101"/>
                <a:gd name="connsiteX11" fmla="*/ 141767 w 226826"/>
                <a:gd name="connsiteY11" fmla="*/ 42530 h 222101"/>
                <a:gd name="connsiteX12" fmla="*/ 80334 w 226826"/>
                <a:gd name="connsiteY12" fmla="*/ 103962 h 222101"/>
                <a:gd name="connsiteX13" fmla="*/ 56707 w 226826"/>
                <a:gd name="connsiteY13" fmla="*/ 217376 h 222101"/>
                <a:gd name="connsiteX14" fmla="*/ 0 w 226826"/>
                <a:gd name="connsiteY14" fmla="*/ 217376 h 222101"/>
                <a:gd name="connsiteX15" fmla="*/ 37804 w 226826"/>
                <a:gd name="connsiteY15" fmla="*/ 9451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222101">
                  <a:moveTo>
                    <a:pt x="37804" y="9451"/>
                  </a:moveTo>
                  <a:lnTo>
                    <a:pt x="94511" y="9451"/>
                  </a:lnTo>
                  <a:lnTo>
                    <a:pt x="89785" y="37804"/>
                  </a:lnTo>
                  <a:lnTo>
                    <a:pt x="89785" y="37804"/>
                  </a:lnTo>
                  <a:cubicBezTo>
                    <a:pt x="108688" y="14177"/>
                    <a:pt x="132316" y="0"/>
                    <a:pt x="165395" y="0"/>
                  </a:cubicBezTo>
                  <a:cubicBezTo>
                    <a:pt x="207925" y="0"/>
                    <a:pt x="226827" y="18902"/>
                    <a:pt x="226827" y="56707"/>
                  </a:cubicBezTo>
                  <a:cubicBezTo>
                    <a:pt x="226827" y="66158"/>
                    <a:pt x="222101" y="85060"/>
                    <a:pt x="222101" y="94511"/>
                  </a:cubicBezTo>
                  <a:lnTo>
                    <a:pt x="193748" y="222102"/>
                  </a:lnTo>
                  <a:lnTo>
                    <a:pt x="137041" y="222102"/>
                  </a:lnTo>
                  <a:lnTo>
                    <a:pt x="165395" y="94511"/>
                  </a:lnTo>
                  <a:cubicBezTo>
                    <a:pt x="165395" y="89786"/>
                    <a:pt x="170120" y="75609"/>
                    <a:pt x="170120" y="66158"/>
                  </a:cubicBezTo>
                  <a:cubicBezTo>
                    <a:pt x="170120" y="51981"/>
                    <a:pt x="155943" y="42530"/>
                    <a:pt x="141767" y="42530"/>
                  </a:cubicBezTo>
                  <a:cubicBezTo>
                    <a:pt x="103962" y="42530"/>
                    <a:pt x="89785" y="70883"/>
                    <a:pt x="80334" y="103962"/>
                  </a:cubicBezTo>
                  <a:lnTo>
                    <a:pt x="56707" y="217376"/>
                  </a:lnTo>
                  <a:lnTo>
                    <a:pt x="0" y="217376"/>
                  </a:lnTo>
                  <a:lnTo>
                    <a:pt x="37804" y="9451"/>
                  </a:lnTo>
                  <a:close/>
                </a:path>
              </a:pathLst>
            </a:custGeom>
            <a:solidFill>
              <a:srgbClr val="000000"/>
            </a:solidFill>
            <a:ln w="47234" cap="flat">
              <a:noFill/>
              <a:prstDash val="solid"/>
              <a:miter/>
            </a:ln>
          </p:spPr>
          <p:txBody>
            <a:bodyPr rtlCol="0" anchor="ctr"/>
            <a:lstStyle/>
            <a:p>
              <a:endParaRPr lang="de-AT"/>
            </a:p>
          </p:txBody>
        </p:sp>
        <p:sp>
          <p:nvSpPr>
            <p:cNvPr id="49" name="Freihandform: Form 48">
              <a:extLst>
                <a:ext uri="{FF2B5EF4-FFF2-40B4-BE49-F238E27FC236}">
                  <a16:creationId xmlns:a16="http://schemas.microsoft.com/office/drawing/2014/main" id="{8EAC8941-F61E-461E-BEB2-FDE67C3976E4}"/>
                </a:ext>
              </a:extLst>
            </p:cNvPr>
            <p:cNvSpPr/>
            <p:nvPr/>
          </p:nvSpPr>
          <p:spPr bwMode="gray">
            <a:xfrm>
              <a:off x="8527681" y="5720546"/>
              <a:ext cx="255180" cy="307161"/>
            </a:xfrm>
            <a:custGeom>
              <a:avLst/>
              <a:gdLst>
                <a:gd name="connsiteX0" fmla="*/ 70884 w 255180"/>
                <a:gd name="connsiteY0" fmla="*/ 127590 h 307161"/>
                <a:gd name="connsiteX1" fmla="*/ 108688 w 255180"/>
                <a:gd name="connsiteY1" fmla="*/ 174846 h 307161"/>
                <a:gd name="connsiteX2" fmla="*/ 170121 w 255180"/>
                <a:gd name="connsiteY2" fmla="*/ 94511 h 307161"/>
                <a:gd name="connsiteX3" fmla="*/ 127591 w 255180"/>
                <a:gd name="connsiteY3" fmla="*/ 47256 h 307161"/>
                <a:gd name="connsiteX4" fmla="*/ 70884 w 255180"/>
                <a:gd name="connsiteY4" fmla="*/ 127590 h 307161"/>
                <a:gd name="connsiteX5" fmla="*/ 207925 w 255180"/>
                <a:gd name="connsiteY5" fmla="*/ 212650 h 307161"/>
                <a:gd name="connsiteX6" fmla="*/ 89786 w 255180"/>
                <a:gd name="connsiteY6" fmla="*/ 307162 h 307161"/>
                <a:gd name="connsiteX7" fmla="*/ 0 w 255180"/>
                <a:gd name="connsiteY7" fmla="*/ 236278 h 307161"/>
                <a:gd name="connsiteX8" fmla="*/ 56707 w 255180"/>
                <a:gd name="connsiteY8" fmla="*/ 236278 h 307161"/>
                <a:gd name="connsiteX9" fmla="*/ 94511 w 255180"/>
                <a:gd name="connsiteY9" fmla="*/ 264632 h 307161"/>
                <a:gd name="connsiteX10" fmla="*/ 155944 w 255180"/>
                <a:gd name="connsiteY10" fmla="*/ 189023 h 307161"/>
                <a:gd name="connsiteX11" fmla="*/ 155944 w 255180"/>
                <a:gd name="connsiteY11" fmla="*/ 189023 h 307161"/>
                <a:gd name="connsiteX12" fmla="*/ 99237 w 255180"/>
                <a:gd name="connsiteY12" fmla="*/ 217376 h 307161"/>
                <a:gd name="connsiteX13" fmla="*/ 18902 w 255180"/>
                <a:gd name="connsiteY13" fmla="*/ 127590 h 307161"/>
                <a:gd name="connsiteX14" fmla="*/ 127591 w 255180"/>
                <a:gd name="connsiteY14" fmla="*/ 0 h 307161"/>
                <a:gd name="connsiteX15" fmla="*/ 193749 w 255180"/>
                <a:gd name="connsiteY15" fmla="*/ 37804 h 307161"/>
                <a:gd name="connsiteX16" fmla="*/ 193749 w 255180"/>
                <a:gd name="connsiteY16" fmla="*/ 37804 h 307161"/>
                <a:gd name="connsiteX17" fmla="*/ 198474 w 255180"/>
                <a:gd name="connsiteY17" fmla="*/ 4725 h 307161"/>
                <a:gd name="connsiteX18" fmla="*/ 255181 w 255180"/>
                <a:gd name="connsiteY18" fmla="*/ 4725 h 307161"/>
                <a:gd name="connsiteX19" fmla="*/ 207925 w 255180"/>
                <a:gd name="connsiteY19" fmla="*/ 212650 h 3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180" h="307161">
                  <a:moveTo>
                    <a:pt x="70884" y="127590"/>
                  </a:moveTo>
                  <a:cubicBezTo>
                    <a:pt x="70884" y="151218"/>
                    <a:pt x="85060" y="174846"/>
                    <a:pt x="108688" y="174846"/>
                  </a:cubicBezTo>
                  <a:cubicBezTo>
                    <a:pt x="151218" y="174846"/>
                    <a:pt x="170121" y="127590"/>
                    <a:pt x="170121" y="94511"/>
                  </a:cubicBezTo>
                  <a:cubicBezTo>
                    <a:pt x="170121" y="66158"/>
                    <a:pt x="155944" y="47256"/>
                    <a:pt x="127591" y="47256"/>
                  </a:cubicBezTo>
                  <a:cubicBezTo>
                    <a:pt x="94511" y="47256"/>
                    <a:pt x="70884" y="94511"/>
                    <a:pt x="70884" y="127590"/>
                  </a:cubicBezTo>
                  <a:moveTo>
                    <a:pt x="207925" y="212650"/>
                  </a:moveTo>
                  <a:cubicBezTo>
                    <a:pt x="193749" y="278808"/>
                    <a:pt x="160669" y="307162"/>
                    <a:pt x="89786" y="307162"/>
                  </a:cubicBezTo>
                  <a:cubicBezTo>
                    <a:pt x="47256" y="307162"/>
                    <a:pt x="0" y="288259"/>
                    <a:pt x="0" y="236278"/>
                  </a:cubicBezTo>
                  <a:lnTo>
                    <a:pt x="56707" y="236278"/>
                  </a:lnTo>
                  <a:cubicBezTo>
                    <a:pt x="56707" y="259906"/>
                    <a:pt x="75609" y="264632"/>
                    <a:pt x="94511" y="264632"/>
                  </a:cubicBezTo>
                  <a:cubicBezTo>
                    <a:pt x="132316" y="264632"/>
                    <a:pt x="141767" y="231553"/>
                    <a:pt x="155944" y="189023"/>
                  </a:cubicBezTo>
                  <a:lnTo>
                    <a:pt x="155944" y="189023"/>
                  </a:lnTo>
                  <a:cubicBezTo>
                    <a:pt x="141767" y="207925"/>
                    <a:pt x="122865" y="217376"/>
                    <a:pt x="99237" y="217376"/>
                  </a:cubicBezTo>
                  <a:cubicBezTo>
                    <a:pt x="47256" y="217376"/>
                    <a:pt x="18902" y="184297"/>
                    <a:pt x="18902" y="127590"/>
                  </a:cubicBezTo>
                  <a:cubicBezTo>
                    <a:pt x="18902" y="66158"/>
                    <a:pt x="56707" y="0"/>
                    <a:pt x="127591" y="0"/>
                  </a:cubicBezTo>
                  <a:cubicBezTo>
                    <a:pt x="155944" y="0"/>
                    <a:pt x="179572" y="9451"/>
                    <a:pt x="193749" y="37804"/>
                  </a:cubicBezTo>
                  <a:lnTo>
                    <a:pt x="193749" y="37804"/>
                  </a:lnTo>
                  <a:lnTo>
                    <a:pt x="198474" y="4725"/>
                  </a:lnTo>
                  <a:lnTo>
                    <a:pt x="255181" y="4725"/>
                  </a:lnTo>
                  <a:lnTo>
                    <a:pt x="207925" y="212650"/>
                  </a:lnTo>
                  <a:close/>
                </a:path>
              </a:pathLst>
            </a:custGeom>
            <a:solidFill>
              <a:srgbClr val="000000"/>
            </a:solidFill>
            <a:ln w="47234" cap="flat">
              <a:noFill/>
              <a:prstDash val="solid"/>
              <a:miter/>
            </a:ln>
          </p:spPr>
          <p:txBody>
            <a:bodyPr rtlCol="0" anchor="ctr"/>
            <a:lstStyle/>
            <a:p>
              <a:endParaRPr lang="de-AT"/>
            </a:p>
          </p:txBody>
        </p:sp>
        <p:sp>
          <p:nvSpPr>
            <p:cNvPr id="50" name="Freihandform: Form 49">
              <a:extLst>
                <a:ext uri="{FF2B5EF4-FFF2-40B4-BE49-F238E27FC236}">
                  <a16:creationId xmlns:a16="http://schemas.microsoft.com/office/drawing/2014/main" id="{EAC42304-6091-4F97-A4A3-B08743FA8858}"/>
                </a:ext>
              </a:extLst>
            </p:cNvPr>
            <p:cNvSpPr/>
            <p:nvPr/>
          </p:nvSpPr>
          <p:spPr bwMode="gray">
            <a:xfrm>
              <a:off x="9146731" y="5720546"/>
              <a:ext cx="359142" cy="217375"/>
            </a:xfrm>
            <a:custGeom>
              <a:avLst/>
              <a:gdLst>
                <a:gd name="connsiteX0" fmla="*/ 42530 w 359142"/>
                <a:gd name="connsiteY0" fmla="*/ 9451 h 217375"/>
                <a:gd name="connsiteX1" fmla="*/ 99236 w 359142"/>
                <a:gd name="connsiteY1" fmla="*/ 9451 h 217375"/>
                <a:gd name="connsiteX2" fmla="*/ 94511 w 359142"/>
                <a:gd name="connsiteY2" fmla="*/ 37804 h 217375"/>
                <a:gd name="connsiteX3" fmla="*/ 94511 w 359142"/>
                <a:gd name="connsiteY3" fmla="*/ 37804 h 217375"/>
                <a:gd name="connsiteX4" fmla="*/ 170120 w 359142"/>
                <a:gd name="connsiteY4" fmla="*/ 0 h 217375"/>
                <a:gd name="connsiteX5" fmla="*/ 222101 w 359142"/>
                <a:gd name="connsiteY5" fmla="*/ 37804 h 217375"/>
                <a:gd name="connsiteX6" fmla="*/ 292985 w 359142"/>
                <a:gd name="connsiteY6" fmla="*/ 0 h 217375"/>
                <a:gd name="connsiteX7" fmla="*/ 359143 w 359142"/>
                <a:gd name="connsiteY7" fmla="*/ 51981 h 217375"/>
                <a:gd name="connsiteX8" fmla="*/ 354418 w 359142"/>
                <a:gd name="connsiteY8" fmla="*/ 89786 h 217375"/>
                <a:gd name="connsiteX9" fmla="*/ 326064 w 359142"/>
                <a:gd name="connsiteY9" fmla="*/ 217376 h 217375"/>
                <a:gd name="connsiteX10" fmla="*/ 269357 w 359142"/>
                <a:gd name="connsiteY10" fmla="*/ 217376 h 217375"/>
                <a:gd name="connsiteX11" fmla="*/ 297711 w 359142"/>
                <a:gd name="connsiteY11" fmla="*/ 80335 h 217375"/>
                <a:gd name="connsiteX12" fmla="*/ 297711 w 359142"/>
                <a:gd name="connsiteY12" fmla="*/ 66158 h 217375"/>
                <a:gd name="connsiteX13" fmla="*/ 274083 w 359142"/>
                <a:gd name="connsiteY13" fmla="*/ 42530 h 217375"/>
                <a:gd name="connsiteX14" fmla="*/ 217376 w 359142"/>
                <a:gd name="connsiteY14" fmla="*/ 99237 h 217375"/>
                <a:gd name="connsiteX15" fmla="*/ 193748 w 359142"/>
                <a:gd name="connsiteY15" fmla="*/ 212650 h 217375"/>
                <a:gd name="connsiteX16" fmla="*/ 132316 w 359142"/>
                <a:gd name="connsiteY16" fmla="*/ 212650 h 217375"/>
                <a:gd name="connsiteX17" fmla="*/ 160669 w 359142"/>
                <a:gd name="connsiteY17" fmla="*/ 75609 h 217375"/>
                <a:gd name="connsiteX18" fmla="*/ 160669 w 359142"/>
                <a:gd name="connsiteY18" fmla="*/ 61432 h 217375"/>
                <a:gd name="connsiteX19" fmla="*/ 137041 w 359142"/>
                <a:gd name="connsiteY19" fmla="*/ 37804 h 217375"/>
                <a:gd name="connsiteX20" fmla="*/ 80334 w 359142"/>
                <a:gd name="connsiteY20" fmla="*/ 94511 h 217375"/>
                <a:gd name="connsiteX21" fmla="*/ 56707 w 359142"/>
                <a:gd name="connsiteY21" fmla="*/ 207925 h 217375"/>
                <a:gd name="connsiteX22" fmla="*/ 0 w 359142"/>
                <a:gd name="connsiteY22" fmla="*/ 207925 h 217375"/>
                <a:gd name="connsiteX23" fmla="*/ 42530 w 359142"/>
                <a:gd name="connsiteY23" fmla="*/ 9451 h 21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9142" h="217375">
                  <a:moveTo>
                    <a:pt x="42530" y="9451"/>
                  </a:moveTo>
                  <a:lnTo>
                    <a:pt x="99236" y="9451"/>
                  </a:lnTo>
                  <a:lnTo>
                    <a:pt x="94511" y="37804"/>
                  </a:lnTo>
                  <a:lnTo>
                    <a:pt x="94511" y="37804"/>
                  </a:lnTo>
                  <a:cubicBezTo>
                    <a:pt x="113413" y="14177"/>
                    <a:pt x="137041" y="0"/>
                    <a:pt x="170120" y="0"/>
                  </a:cubicBezTo>
                  <a:cubicBezTo>
                    <a:pt x="193748" y="0"/>
                    <a:pt x="217376" y="9451"/>
                    <a:pt x="222101" y="37804"/>
                  </a:cubicBezTo>
                  <a:cubicBezTo>
                    <a:pt x="236278" y="14177"/>
                    <a:pt x="269357" y="0"/>
                    <a:pt x="292985" y="0"/>
                  </a:cubicBezTo>
                  <a:cubicBezTo>
                    <a:pt x="326064" y="0"/>
                    <a:pt x="359143" y="18902"/>
                    <a:pt x="359143" y="51981"/>
                  </a:cubicBezTo>
                  <a:cubicBezTo>
                    <a:pt x="359143" y="66158"/>
                    <a:pt x="354418" y="80335"/>
                    <a:pt x="354418" y="89786"/>
                  </a:cubicBezTo>
                  <a:lnTo>
                    <a:pt x="326064" y="217376"/>
                  </a:lnTo>
                  <a:lnTo>
                    <a:pt x="269357" y="217376"/>
                  </a:lnTo>
                  <a:lnTo>
                    <a:pt x="297711" y="80335"/>
                  </a:lnTo>
                  <a:cubicBezTo>
                    <a:pt x="297711" y="75609"/>
                    <a:pt x="297711" y="70883"/>
                    <a:pt x="297711" y="66158"/>
                  </a:cubicBezTo>
                  <a:cubicBezTo>
                    <a:pt x="297711" y="51981"/>
                    <a:pt x="288259" y="42530"/>
                    <a:pt x="274083" y="42530"/>
                  </a:cubicBezTo>
                  <a:cubicBezTo>
                    <a:pt x="241003" y="42530"/>
                    <a:pt x="226827" y="75609"/>
                    <a:pt x="217376" y="99237"/>
                  </a:cubicBezTo>
                  <a:lnTo>
                    <a:pt x="193748" y="212650"/>
                  </a:lnTo>
                  <a:lnTo>
                    <a:pt x="132316" y="212650"/>
                  </a:lnTo>
                  <a:lnTo>
                    <a:pt x="160669" y="75609"/>
                  </a:lnTo>
                  <a:cubicBezTo>
                    <a:pt x="160669" y="70883"/>
                    <a:pt x="160669" y="66158"/>
                    <a:pt x="160669" y="61432"/>
                  </a:cubicBezTo>
                  <a:cubicBezTo>
                    <a:pt x="160669" y="47256"/>
                    <a:pt x="151218" y="37804"/>
                    <a:pt x="137041" y="37804"/>
                  </a:cubicBezTo>
                  <a:cubicBezTo>
                    <a:pt x="103962" y="37804"/>
                    <a:pt x="89785" y="70883"/>
                    <a:pt x="80334" y="94511"/>
                  </a:cubicBezTo>
                  <a:lnTo>
                    <a:pt x="56707" y="207925"/>
                  </a:lnTo>
                  <a:lnTo>
                    <a:pt x="0" y="207925"/>
                  </a:lnTo>
                  <a:lnTo>
                    <a:pt x="42530" y="9451"/>
                  </a:lnTo>
                  <a:close/>
                </a:path>
              </a:pathLst>
            </a:custGeom>
            <a:solidFill>
              <a:srgbClr val="000000"/>
            </a:solidFill>
            <a:ln w="47234" cap="flat">
              <a:noFill/>
              <a:prstDash val="solid"/>
              <a:miter/>
            </a:ln>
          </p:spPr>
          <p:txBody>
            <a:bodyPr rtlCol="0" anchor="ctr"/>
            <a:lstStyle/>
            <a:p>
              <a:endParaRPr lang="de-AT"/>
            </a:p>
          </p:txBody>
        </p:sp>
        <p:sp>
          <p:nvSpPr>
            <p:cNvPr id="51" name="Freihandform: Form 50">
              <a:extLst>
                <a:ext uri="{FF2B5EF4-FFF2-40B4-BE49-F238E27FC236}">
                  <a16:creationId xmlns:a16="http://schemas.microsoft.com/office/drawing/2014/main" id="{9B041064-33AD-426C-81E3-27F7BEA7EA0A}"/>
                </a:ext>
              </a:extLst>
            </p:cNvPr>
            <p:cNvSpPr/>
            <p:nvPr/>
          </p:nvSpPr>
          <p:spPr bwMode="gray">
            <a:xfrm>
              <a:off x="9657092" y="5668565"/>
              <a:ext cx="151217" cy="278808"/>
            </a:xfrm>
            <a:custGeom>
              <a:avLst/>
              <a:gdLst>
                <a:gd name="connsiteX0" fmla="*/ 108687 w 151217"/>
                <a:gd name="connsiteY0" fmla="*/ 61433 h 278808"/>
                <a:gd name="connsiteX1" fmla="*/ 151218 w 151217"/>
                <a:gd name="connsiteY1" fmla="*/ 61433 h 278808"/>
                <a:gd name="connsiteX2" fmla="*/ 141767 w 151217"/>
                <a:gd name="connsiteY2" fmla="*/ 99237 h 278808"/>
                <a:gd name="connsiteX3" fmla="*/ 99236 w 151217"/>
                <a:gd name="connsiteY3" fmla="*/ 99237 h 278808"/>
                <a:gd name="connsiteX4" fmla="*/ 75609 w 151217"/>
                <a:gd name="connsiteY4" fmla="*/ 207925 h 278808"/>
                <a:gd name="connsiteX5" fmla="*/ 75609 w 151217"/>
                <a:gd name="connsiteY5" fmla="*/ 217376 h 278808"/>
                <a:gd name="connsiteX6" fmla="*/ 94511 w 151217"/>
                <a:gd name="connsiteY6" fmla="*/ 231553 h 278808"/>
                <a:gd name="connsiteX7" fmla="*/ 113413 w 151217"/>
                <a:gd name="connsiteY7" fmla="*/ 231553 h 278808"/>
                <a:gd name="connsiteX8" fmla="*/ 103962 w 151217"/>
                <a:gd name="connsiteY8" fmla="*/ 278808 h 278808"/>
                <a:gd name="connsiteX9" fmla="*/ 66158 w 151217"/>
                <a:gd name="connsiteY9" fmla="*/ 278808 h 278808"/>
                <a:gd name="connsiteX10" fmla="*/ 9451 w 151217"/>
                <a:gd name="connsiteY10" fmla="*/ 236278 h 278808"/>
                <a:gd name="connsiteX11" fmla="*/ 14176 w 151217"/>
                <a:gd name="connsiteY11" fmla="*/ 217376 h 278808"/>
                <a:gd name="connsiteX12" fmla="*/ 37804 w 151217"/>
                <a:gd name="connsiteY12" fmla="*/ 103962 h 278808"/>
                <a:gd name="connsiteX13" fmla="*/ 0 w 151217"/>
                <a:gd name="connsiteY13" fmla="*/ 103962 h 278808"/>
                <a:gd name="connsiteX14" fmla="*/ 9451 w 151217"/>
                <a:gd name="connsiteY14" fmla="*/ 66158 h 278808"/>
                <a:gd name="connsiteX15" fmla="*/ 47256 w 151217"/>
                <a:gd name="connsiteY15" fmla="*/ 66158 h 278808"/>
                <a:gd name="connsiteX16" fmla="*/ 61432 w 151217"/>
                <a:gd name="connsiteY16" fmla="*/ 0 h 278808"/>
                <a:gd name="connsiteX17" fmla="*/ 118139 w 151217"/>
                <a:gd name="connsiteY17" fmla="*/ 0 h 278808"/>
                <a:gd name="connsiteX18" fmla="*/ 108687 w 151217"/>
                <a:gd name="connsiteY18" fmla="*/ 61433 h 27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217" h="278808">
                  <a:moveTo>
                    <a:pt x="108687" y="61433"/>
                  </a:moveTo>
                  <a:lnTo>
                    <a:pt x="151218" y="61433"/>
                  </a:lnTo>
                  <a:lnTo>
                    <a:pt x="141767" y="99237"/>
                  </a:lnTo>
                  <a:lnTo>
                    <a:pt x="99236" y="99237"/>
                  </a:lnTo>
                  <a:lnTo>
                    <a:pt x="75609" y="207925"/>
                  </a:lnTo>
                  <a:cubicBezTo>
                    <a:pt x="75609" y="212650"/>
                    <a:pt x="75609" y="217376"/>
                    <a:pt x="75609" y="217376"/>
                  </a:cubicBezTo>
                  <a:cubicBezTo>
                    <a:pt x="75609" y="231553"/>
                    <a:pt x="85060" y="231553"/>
                    <a:pt x="94511" y="231553"/>
                  </a:cubicBezTo>
                  <a:cubicBezTo>
                    <a:pt x="99236" y="231553"/>
                    <a:pt x="108687" y="231553"/>
                    <a:pt x="113413" y="231553"/>
                  </a:cubicBezTo>
                  <a:lnTo>
                    <a:pt x="103962" y="278808"/>
                  </a:lnTo>
                  <a:cubicBezTo>
                    <a:pt x="89785" y="278808"/>
                    <a:pt x="80334" y="278808"/>
                    <a:pt x="66158" y="278808"/>
                  </a:cubicBezTo>
                  <a:cubicBezTo>
                    <a:pt x="37804" y="278808"/>
                    <a:pt x="9451" y="269357"/>
                    <a:pt x="9451" y="236278"/>
                  </a:cubicBezTo>
                  <a:cubicBezTo>
                    <a:pt x="9451" y="231553"/>
                    <a:pt x="9451" y="222102"/>
                    <a:pt x="14176" y="217376"/>
                  </a:cubicBezTo>
                  <a:lnTo>
                    <a:pt x="37804" y="103962"/>
                  </a:lnTo>
                  <a:lnTo>
                    <a:pt x="0" y="103962"/>
                  </a:lnTo>
                  <a:lnTo>
                    <a:pt x="9451" y="66158"/>
                  </a:lnTo>
                  <a:lnTo>
                    <a:pt x="47256" y="66158"/>
                  </a:lnTo>
                  <a:lnTo>
                    <a:pt x="61432" y="0"/>
                  </a:lnTo>
                  <a:lnTo>
                    <a:pt x="118139" y="0"/>
                  </a:lnTo>
                  <a:lnTo>
                    <a:pt x="108687" y="61433"/>
                  </a:lnTo>
                  <a:close/>
                </a:path>
              </a:pathLst>
            </a:custGeom>
            <a:solidFill>
              <a:srgbClr val="000000"/>
            </a:solidFill>
            <a:ln w="47234" cap="flat">
              <a:noFill/>
              <a:prstDash val="solid"/>
              <a:miter/>
            </a:ln>
          </p:spPr>
          <p:txBody>
            <a:bodyPr rtlCol="0" anchor="ctr"/>
            <a:lstStyle/>
            <a:p>
              <a:endParaRPr lang="de-AT"/>
            </a:p>
          </p:txBody>
        </p:sp>
        <p:sp>
          <p:nvSpPr>
            <p:cNvPr id="52" name="Freihandform: Form 51">
              <a:extLst>
                <a:ext uri="{FF2B5EF4-FFF2-40B4-BE49-F238E27FC236}">
                  <a16:creationId xmlns:a16="http://schemas.microsoft.com/office/drawing/2014/main" id="{59323F2D-C5EF-4051-9DC4-078B974A1279}"/>
                </a:ext>
              </a:extLst>
            </p:cNvPr>
            <p:cNvSpPr/>
            <p:nvPr/>
          </p:nvSpPr>
          <p:spPr bwMode="gray">
            <a:xfrm>
              <a:off x="9808310" y="5720546"/>
              <a:ext cx="207924" cy="226827"/>
            </a:xfrm>
            <a:custGeom>
              <a:avLst/>
              <a:gdLst>
                <a:gd name="connsiteX0" fmla="*/ 151218 w 207924"/>
                <a:gd name="connsiteY0" fmla="*/ 70883 h 226827"/>
                <a:gd name="connsiteX1" fmla="*/ 118139 w 207924"/>
                <a:gd name="connsiteY1" fmla="*/ 42530 h 226827"/>
                <a:gd name="connsiteX2" fmla="*/ 80334 w 207924"/>
                <a:gd name="connsiteY2" fmla="*/ 61432 h 226827"/>
                <a:gd name="connsiteX3" fmla="*/ 108688 w 207924"/>
                <a:gd name="connsiteY3" fmla="*/ 85060 h 226827"/>
                <a:gd name="connsiteX4" fmla="*/ 137041 w 207924"/>
                <a:gd name="connsiteY4" fmla="*/ 94511 h 226827"/>
                <a:gd name="connsiteX5" fmla="*/ 193748 w 207924"/>
                <a:gd name="connsiteY5" fmla="*/ 155944 h 226827"/>
                <a:gd name="connsiteX6" fmla="*/ 89785 w 207924"/>
                <a:gd name="connsiteY6" fmla="*/ 226827 h 226827"/>
                <a:gd name="connsiteX7" fmla="*/ 0 w 207924"/>
                <a:gd name="connsiteY7" fmla="*/ 160669 h 226827"/>
                <a:gd name="connsiteX8" fmla="*/ 0 w 207924"/>
                <a:gd name="connsiteY8" fmla="*/ 151218 h 226827"/>
                <a:gd name="connsiteX9" fmla="*/ 56707 w 207924"/>
                <a:gd name="connsiteY9" fmla="*/ 151218 h 226827"/>
                <a:gd name="connsiteX10" fmla="*/ 56707 w 207924"/>
                <a:gd name="connsiteY10" fmla="*/ 155944 h 226827"/>
                <a:gd name="connsiteX11" fmla="*/ 99236 w 207924"/>
                <a:gd name="connsiteY11" fmla="*/ 184297 h 226827"/>
                <a:gd name="connsiteX12" fmla="*/ 137041 w 207924"/>
                <a:gd name="connsiteY12" fmla="*/ 160669 h 226827"/>
                <a:gd name="connsiteX13" fmla="*/ 118139 w 207924"/>
                <a:gd name="connsiteY13" fmla="*/ 137041 h 226827"/>
                <a:gd name="connsiteX14" fmla="*/ 70884 w 207924"/>
                <a:gd name="connsiteY14" fmla="*/ 122865 h 226827"/>
                <a:gd name="connsiteX15" fmla="*/ 23628 w 207924"/>
                <a:gd name="connsiteY15" fmla="*/ 66158 h 226827"/>
                <a:gd name="connsiteX16" fmla="*/ 118139 w 207924"/>
                <a:gd name="connsiteY16" fmla="*/ 0 h 226827"/>
                <a:gd name="connsiteX17" fmla="*/ 207925 w 207924"/>
                <a:gd name="connsiteY17" fmla="*/ 66158 h 226827"/>
                <a:gd name="connsiteX18" fmla="*/ 151218 w 207924"/>
                <a:gd name="connsiteY18" fmla="*/ 66158 h 22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7924" h="226827">
                  <a:moveTo>
                    <a:pt x="151218" y="70883"/>
                  </a:moveTo>
                  <a:cubicBezTo>
                    <a:pt x="151218" y="51981"/>
                    <a:pt x="141767" y="42530"/>
                    <a:pt x="118139" y="42530"/>
                  </a:cubicBezTo>
                  <a:cubicBezTo>
                    <a:pt x="99236" y="42530"/>
                    <a:pt x="80334" y="47256"/>
                    <a:pt x="80334" y="61432"/>
                  </a:cubicBezTo>
                  <a:cubicBezTo>
                    <a:pt x="80334" y="70883"/>
                    <a:pt x="85060" y="75609"/>
                    <a:pt x="108688" y="85060"/>
                  </a:cubicBezTo>
                  <a:lnTo>
                    <a:pt x="137041" y="94511"/>
                  </a:lnTo>
                  <a:cubicBezTo>
                    <a:pt x="170120" y="103962"/>
                    <a:pt x="193748" y="118139"/>
                    <a:pt x="193748" y="155944"/>
                  </a:cubicBezTo>
                  <a:cubicBezTo>
                    <a:pt x="193748" y="207925"/>
                    <a:pt x="141767" y="226827"/>
                    <a:pt x="89785" y="226827"/>
                  </a:cubicBezTo>
                  <a:cubicBezTo>
                    <a:pt x="47256" y="226827"/>
                    <a:pt x="0" y="207925"/>
                    <a:pt x="0" y="160669"/>
                  </a:cubicBezTo>
                  <a:lnTo>
                    <a:pt x="0" y="151218"/>
                  </a:lnTo>
                  <a:lnTo>
                    <a:pt x="56707" y="151218"/>
                  </a:lnTo>
                  <a:lnTo>
                    <a:pt x="56707" y="155944"/>
                  </a:lnTo>
                  <a:cubicBezTo>
                    <a:pt x="56707" y="174846"/>
                    <a:pt x="80334" y="184297"/>
                    <a:pt x="99236" y="184297"/>
                  </a:cubicBezTo>
                  <a:cubicBezTo>
                    <a:pt x="118139" y="184297"/>
                    <a:pt x="137041" y="179571"/>
                    <a:pt x="137041" y="160669"/>
                  </a:cubicBezTo>
                  <a:cubicBezTo>
                    <a:pt x="137041" y="146492"/>
                    <a:pt x="127590" y="141767"/>
                    <a:pt x="118139" y="137041"/>
                  </a:cubicBezTo>
                  <a:lnTo>
                    <a:pt x="70884" y="122865"/>
                  </a:lnTo>
                  <a:cubicBezTo>
                    <a:pt x="42530" y="113413"/>
                    <a:pt x="23628" y="103962"/>
                    <a:pt x="23628" y="66158"/>
                  </a:cubicBezTo>
                  <a:cubicBezTo>
                    <a:pt x="23628" y="14177"/>
                    <a:pt x="75609" y="0"/>
                    <a:pt x="118139" y="0"/>
                  </a:cubicBezTo>
                  <a:cubicBezTo>
                    <a:pt x="165395" y="0"/>
                    <a:pt x="207925" y="14177"/>
                    <a:pt x="207925" y="66158"/>
                  </a:cubicBezTo>
                  <a:lnTo>
                    <a:pt x="151218" y="66158"/>
                  </a:lnTo>
                  <a:close/>
                </a:path>
              </a:pathLst>
            </a:custGeom>
            <a:solidFill>
              <a:srgbClr val="000000"/>
            </a:solidFill>
            <a:ln w="47234" cap="flat">
              <a:noFill/>
              <a:prstDash val="solid"/>
              <a:miter/>
            </a:ln>
          </p:spPr>
          <p:txBody>
            <a:bodyPr rtlCol="0" anchor="ctr"/>
            <a:lstStyle/>
            <a:p>
              <a:endParaRPr lang="de-AT"/>
            </a:p>
          </p:txBody>
        </p:sp>
      </p:grpSp>
      <p:sp>
        <p:nvSpPr>
          <p:cNvPr id="53" name="Freihandform: Form 52">
            <a:extLst>
              <a:ext uri="{FF2B5EF4-FFF2-40B4-BE49-F238E27FC236}">
                <a16:creationId xmlns:a16="http://schemas.microsoft.com/office/drawing/2014/main" id="{745B66F4-10CA-44B4-AFBF-C5208E64A872}"/>
              </a:ext>
            </a:extLst>
          </p:cNvPr>
          <p:cNvSpPr/>
          <p:nvPr userDrawn="1"/>
        </p:nvSpPr>
        <p:spPr bwMode="gray">
          <a:xfrm>
            <a:off x="9019140" y="4539154"/>
            <a:ext cx="756091" cy="671030"/>
          </a:xfrm>
          <a:custGeom>
            <a:avLst/>
            <a:gdLst>
              <a:gd name="connsiteX0" fmla="*/ 756091 w 756091"/>
              <a:gd name="connsiteY0" fmla="*/ 283534 h 671030"/>
              <a:gd name="connsiteX1" fmla="*/ 704110 w 756091"/>
              <a:gd name="connsiteY1" fmla="*/ 212650 h 671030"/>
              <a:gd name="connsiteX2" fmla="*/ 278809 w 756091"/>
              <a:gd name="connsiteY2" fmla="*/ 0 h 671030"/>
              <a:gd name="connsiteX3" fmla="*/ 217376 w 756091"/>
              <a:gd name="connsiteY3" fmla="*/ 146492 h 671030"/>
              <a:gd name="connsiteX4" fmla="*/ 529264 w 756091"/>
              <a:gd name="connsiteY4" fmla="*/ 292985 h 671030"/>
              <a:gd name="connsiteX5" fmla="*/ 75609 w 756091"/>
              <a:gd name="connsiteY5" fmla="*/ 486733 h 671030"/>
              <a:gd name="connsiteX6" fmla="*/ 0 w 756091"/>
              <a:gd name="connsiteY6" fmla="*/ 671030 h 671030"/>
              <a:gd name="connsiteX7" fmla="*/ 675756 w 756091"/>
              <a:gd name="connsiteY7" fmla="*/ 378045 h 671030"/>
              <a:gd name="connsiteX8" fmla="*/ 756091 w 756091"/>
              <a:gd name="connsiteY8" fmla="*/ 283534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91" h="671030">
                <a:moveTo>
                  <a:pt x="756091" y="283534"/>
                </a:moveTo>
                <a:cubicBezTo>
                  <a:pt x="756091" y="269357"/>
                  <a:pt x="751365" y="236278"/>
                  <a:pt x="704110" y="212650"/>
                </a:cubicBezTo>
                <a:lnTo>
                  <a:pt x="278809" y="0"/>
                </a:lnTo>
                <a:lnTo>
                  <a:pt x="217376" y="146492"/>
                </a:lnTo>
                <a:lnTo>
                  <a:pt x="529264" y="292985"/>
                </a:lnTo>
                <a:lnTo>
                  <a:pt x="75609" y="486733"/>
                </a:lnTo>
                <a:lnTo>
                  <a:pt x="0" y="671030"/>
                </a:lnTo>
                <a:lnTo>
                  <a:pt x="675756" y="378045"/>
                </a:lnTo>
                <a:cubicBezTo>
                  <a:pt x="727737" y="349692"/>
                  <a:pt x="756091" y="316613"/>
                  <a:pt x="756091" y="283534"/>
                </a:cubicBezTo>
              </a:path>
            </a:pathLst>
          </a:custGeom>
          <a:solidFill>
            <a:srgbClr val="FFCC03"/>
          </a:solidFill>
          <a:ln w="47234" cap="flat">
            <a:noFill/>
            <a:prstDash val="solid"/>
            <a:miter/>
          </a:ln>
        </p:spPr>
        <p:txBody>
          <a:bodyPr rtlCol="0" anchor="ctr"/>
          <a:lstStyle/>
          <a:p>
            <a:endParaRPr lang="de-AT"/>
          </a:p>
        </p:txBody>
      </p:sp>
      <p:sp>
        <p:nvSpPr>
          <p:cNvPr id="54" name="Freihandform: Form 53">
            <a:extLst>
              <a:ext uri="{FF2B5EF4-FFF2-40B4-BE49-F238E27FC236}">
                <a16:creationId xmlns:a16="http://schemas.microsoft.com/office/drawing/2014/main" id="{68AD5E07-E20E-45D6-9657-8993C8A7CAEF}"/>
              </a:ext>
            </a:extLst>
          </p:cNvPr>
          <p:cNvSpPr/>
          <p:nvPr userDrawn="1">
            <p:custDataLst>
              <p:tags r:id="rId3"/>
            </p:custDataLst>
          </p:nvPr>
        </p:nvSpPr>
        <p:spPr bwMode="gray">
          <a:xfrm>
            <a:off x="9647640" y="4539154"/>
            <a:ext cx="756090" cy="671030"/>
          </a:xfrm>
          <a:custGeom>
            <a:avLst/>
            <a:gdLst>
              <a:gd name="connsiteX0" fmla="*/ 756091 w 756090"/>
              <a:gd name="connsiteY0" fmla="*/ 283534 h 671030"/>
              <a:gd name="connsiteX1" fmla="*/ 704110 w 756090"/>
              <a:gd name="connsiteY1" fmla="*/ 212650 h 671030"/>
              <a:gd name="connsiteX2" fmla="*/ 278809 w 756090"/>
              <a:gd name="connsiteY2" fmla="*/ 0 h 671030"/>
              <a:gd name="connsiteX3" fmla="*/ 217376 w 756090"/>
              <a:gd name="connsiteY3" fmla="*/ 146492 h 671030"/>
              <a:gd name="connsiteX4" fmla="*/ 529264 w 756090"/>
              <a:gd name="connsiteY4" fmla="*/ 292985 h 671030"/>
              <a:gd name="connsiteX5" fmla="*/ 75609 w 756090"/>
              <a:gd name="connsiteY5" fmla="*/ 486733 h 671030"/>
              <a:gd name="connsiteX6" fmla="*/ 0 w 756090"/>
              <a:gd name="connsiteY6" fmla="*/ 671030 h 671030"/>
              <a:gd name="connsiteX7" fmla="*/ 675756 w 756090"/>
              <a:gd name="connsiteY7" fmla="*/ 378045 h 671030"/>
              <a:gd name="connsiteX8" fmla="*/ 756091 w 756090"/>
              <a:gd name="connsiteY8" fmla="*/ 283534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90" h="671030">
                <a:moveTo>
                  <a:pt x="756091" y="283534"/>
                </a:moveTo>
                <a:cubicBezTo>
                  <a:pt x="756091" y="269357"/>
                  <a:pt x="751366" y="236278"/>
                  <a:pt x="704110" y="212650"/>
                </a:cubicBezTo>
                <a:lnTo>
                  <a:pt x="278809" y="0"/>
                </a:lnTo>
                <a:lnTo>
                  <a:pt x="217376" y="146492"/>
                </a:lnTo>
                <a:lnTo>
                  <a:pt x="529264" y="292985"/>
                </a:lnTo>
                <a:lnTo>
                  <a:pt x="75609" y="486733"/>
                </a:lnTo>
                <a:lnTo>
                  <a:pt x="0" y="671030"/>
                </a:lnTo>
                <a:lnTo>
                  <a:pt x="675756" y="378045"/>
                </a:lnTo>
                <a:cubicBezTo>
                  <a:pt x="723012" y="349692"/>
                  <a:pt x="756091" y="316613"/>
                  <a:pt x="756091" y="283534"/>
                </a:cubicBezTo>
              </a:path>
            </a:pathLst>
          </a:custGeom>
          <a:solidFill>
            <a:srgbClr val="FFCC03"/>
          </a:solidFill>
          <a:ln w="47234" cap="flat">
            <a:noFill/>
            <a:prstDash val="solid"/>
            <a:miter/>
          </a:ln>
        </p:spPr>
        <p:txBody>
          <a:bodyPr rtlCol="0" anchor="ctr"/>
          <a:lstStyle/>
          <a:p>
            <a:endParaRPr lang="de-AT"/>
          </a:p>
        </p:txBody>
      </p:sp>
      <p:sp>
        <p:nvSpPr>
          <p:cNvPr id="55" name="Freihandform: Form 54">
            <a:extLst>
              <a:ext uri="{FF2B5EF4-FFF2-40B4-BE49-F238E27FC236}">
                <a16:creationId xmlns:a16="http://schemas.microsoft.com/office/drawing/2014/main" id="{D17C64ED-1833-46F4-B1E5-42E85E1065EA}"/>
              </a:ext>
            </a:extLst>
          </p:cNvPr>
          <p:cNvSpPr/>
          <p:nvPr userDrawn="1">
            <p:custDataLst>
              <p:tags r:id="rId4"/>
            </p:custDataLst>
          </p:nvPr>
        </p:nvSpPr>
        <p:spPr bwMode="gray">
          <a:xfrm>
            <a:off x="10276141" y="4539154"/>
            <a:ext cx="760816" cy="671030"/>
          </a:xfrm>
          <a:custGeom>
            <a:avLst/>
            <a:gdLst>
              <a:gd name="connsiteX0" fmla="*/ 704110 w 760816"/>
              <a:gd name="connsiteY0" fmla="*/ 212650 h 671030"/>
              <a:gd name="connsiteX1" fmla="*/ 278809 w 760816"/>
              <a:gd name="connsiteY1" fmla="*/ 0 h 671030"/>
              <a:gd name="connsiteX2" fmla="*/ 217376 w 760816"/>
              <a:gd name="connsiteY2" fmla="*/ 146492 h 671030"/>
              <a:gd name="connsiteX3" fmla="*/ 529263 w 760816"/>
              <a:gd name="connsiteY3" fmla="*/ 292985 h 671030"/>
              <a:gd name="connsiteX4" fmla="*/ 75609 w 760816"/>
              <a:gd name="connsiteY4" fmla="*/ 486733 h 671030"/>
              <a:gd name="connsiteX5" fmla="*/ 0 w 760816"/>
              <a:gd name="connsiteY5" fmla="*/ 671030 h 671030"/>
              <a:gd name="connsiteX6" fmla="*/ 675756 w 760816"/>
              <a:gd name="connsiteY6" fmla="*/ 378045 h 671030"/>
              <a:gd name="connsiteX7" fmla="*/ 760817 w 760816"/>
              <a:gd name="connsiteY7" fmla="*/ 288259 h 671030"/>
              <a:gd name="connsiteX8" fmla="*/ 704110 w 760816"/>
              <a:gd name="connsiteY8" fmla="*/ 212650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0816" h="671030">
                <a:moveTo>
                  <a:pt x="704110" y="212650"/>
                </a:moveTo>
                <a:lnTo>
                  <a:pt x="278809" y="0"/>
                </a:lnTo>
                <a:lnTo>
                  <a:pt x="217376" y="146492"/>
                </a:lnTo>
                <a:lnTo>
                  <a:pt x="529263" y="292985"/>
                </a:lnTo>
                <a:lnTo>
                  <a:pt x="75609" y="486733"/>
                </a:lnTo>
                <a:lnTo>
                  <a:pt x="0" y="671030"/>
                </a:lnTo>
                <a:lnTo>
                  <a:pt x="675756" y="378045"/>
                </a:lnTo>
                <a:cubicBezTo>
                  <a:pt x="727738" y="354417"/>
                  <a:pt x="760817" y="321338"/>
                  <a:pt x="760817" y="288259"/>
                </a:cubicBezTo>
                <a:cubicBezTo>
                  <a:pt x="756091" y="269357"/>
                  <a:pt x="751366" y="236278"/>
                  <a:pt x="704110" y="212650"/>
                </a:cubicBezTo>
              </a:path>
            </a:pathLst>
          </a:custGeom>
          <a:solidFill>
            <a:srgbClr val="000000"/>
          </a:solidFill>
          <a:ln w="47234" cap="flat">
            <a:noFill/>
            <a:prstDash val="solid"/>
            <a:miter/>
          </a:ln>
        </p:spPr>
        <p:txBody>
          <a:bodyPr rtlCol="0" anchor="ctr"/>
          <a:lstStyle/>
          <a:p>
            <a:endParaRPr lang="de-AT"/>
          </a:p>
        </p:txBody>
      </p:sp>
      <p:grpSp>
        <p:nvGrpSpPr>
          <p:cNvPr id="62" name="Gruppieren 61">
            <a:extLst>
              <a:ext uri="{FF2B5EF4-FFF2-40B4-BE49-F238E27FC236}">
                <a16:creationId xmlns:a16="http://schemas.microsoft.com/office/drawing/2014/main" id="{99241135-18E9-4D9E-BC4E-A80F590B5A15}"/>
              </a:ext>
            </a:extLst>
          </p:cNvPr>
          <p:cNvGrpSpPr/>
          <p:nvPr userDrawn="1"/>
        </p:nvGrpSpPr>
        <p:grpSpPr bwMode="gray">
          <a:xfrm>
            <a:off x="335360" y="-171400"/>
            <a:ext cx="11521184" cy="72000"/>
            <a:chOff x="335360" y="-243408"/>
            <a:chExt cx="11521184" cy="72000"/>
          </a:xfrm>
        </p:grpSpPr>
        <p:sp>
          <p:nvSpPr>
            <p:cNvPr id="63" name="Rechteck 62">
              <a:extLst>
                <a:ext uri="{FF2B5EF4-FFF2-40B4-BE49-F238E27FC236}">
                  <a16:creationId xmlns:a16="http://schemas.microsoft.com/office/drawing/2014/main" id="{5C3636E4-C918-4F96-B240-DEFD8340C38D}"/>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5" name="Rechteck 64">
              <a:extLst>
                <a:ext uri="{FF2B5EF4-FFF2-40B4-BE49-F238E27FC236}">
                  <a16:creationId xmlns:a16="http://schemas.microsoft.com/office/drawing/2014/main" id="{1BB31F9C-83C2-4496-B615-DFA12F929A60}"/>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6" name="Rechteck 65">
              <a:extLst>
                <a:ext uri="{FF2B5EF4-FFF2-40B4-BE49-F238E27FC236}">
                  <a16:creationId xmlns:a16="http://schemas.microsoft.com/office/drawing/2014/main" id="{4C437269-FD14-4CAB-8C16-AD3C7D3BD532}"/>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7" name="Rechteck 66">
              <a:extLst>
                <a:ext uri="{FF2B5EF4-FFF2-40B4-BE49-F238E27FC236}">
                  <a16:creationId xmlns:a16="http://schemas.microsoft.com/office/drawing/2014/main" id="{630D49CF-A0AC-4998-BAA4-73849623BA71}"/>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8" name="Rechteck 67">
              <a:extLst>
                <a:ext uri="{FF2B5EF4-FFF2-40B4-BE49-F238E27FC236}">
                  <a16:creationId xmlns:a16="http://schemas.microsoft.com/office/drawing/2014/main" id="{91534E2C-CA2C-450B-AAE5-AC46A9294B70}"/>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9" name="Rechteck 68">
              <a:extLst>
                <a:ext uri="{FF2B5EF4-FFF2-40B4-BE49-F238E27FC236}">
                  <a16:creationId xmlns:a16="http://schemas.microsoft.com/office/drawing/2014/main" id="{88B5DA3D-CEF0-4544-A523-EE5BB3542A63}"/>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0" name="Rechteck 69">
              <a:extLst>
                <a:ext uri="{FF2B5EF4-FFF2-40B4-BE49-F238E27FC236}">
                  <a16:creationId xmlns:a16="http://schemas.microsoft.com/office/drawing/2014/main" id="{3124C02E-E2AB-4F0F-8102-EF9329DFA3B9}"/>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1" name="Rechteck 70">
              <a:extLst>
                <a:ext uri="{FF2B5EF4-FFF2-40B4-BE49-F238E27FC236}">
                  <a16:creationId xmlns:a16="http://schemas.microsoft.com/office/drawing/2014/main" id="{F0BE009D-0CA1-4AFC-B09C-4BAF968BE20F}"/>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2" name="Rechteck 71">
              <a:extLst>
                <a:ext uri="{FF2B5EF4-FFF2-40B4-BE49-F238E27FC236}">
                  <a16:creationId xmlns:a16="http://schemas.microsoft.com/office/drawing/2014/main" id="{C7C236FC-65A4-41C0-B56C-FE639814FB6E}"/>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3" name="Rechteck 72">
              <a:extLst>
                <a:ext uri="{FF2B5EF4-FFF2-40B4-BE49-F238E27FC236}">
                  <a16:creationId xmlns:a16="http://schemas.microsoft.com/office/drawing/2014/main" id="{3A2118B7-3A47-4F02-9B34-37B279B6E6F3}"/>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4" name="Rechteck 73">
              <a:extLst>
                <a:ext uri="{FF2B5EF4-FFF2-40B4-BE49-F238E27FC236}">
                  <a16:creationId xmlns:a16="http://schemas.microsoft.com/office/drawing/2014/main" id="{9EE1707F-B1C4-4575-957F-EFC77A155B9B}"/>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6" name="Rechteck 75">
              <a:extLst>
                <a:ext uri="{FF2B5EF4-FFF2-40B4-BE49-F238E27FC236}">
                  <a16:creationId xmlns:a16="http://schemas.microsoft.com/office/drawing/2014/main" id="{6D378A4B-88FC-4276-A0D6-FB13D042BA45}"/>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grpSp>
      <p:grpSp>
        <p:nvGrpSpPr>
          <p:cNvPr id="78" name="Gruppieren 77">
            <a:extLst>
              <a:ext uri="{FF2B5EF4-FFF2-40B4-BE49-F238E27FC236}">
                <a16:creationId xmlns:a16="http://schemas.microsoft.com/office/drawing/2014/main" id="{9711AF9A-866B-43D0-B0A6-DAE3A5579440}"/>
              </a:ext>
            </a:extLst>
          </p:cNvPr>
          <p:cNvGrpSpPr/>
          <p:nvPr userDrawn="1"/>
        </p:nvGrpSpPr>
        <p:grpSpPr bwMode="gray">
          <a:xfrm>
            <a:off x="335360" y="-171400"/>
            <a:ext cx="11521280" cy="72000"/>
            <a:chOff x="335360" y="-243408"/>
            <a:chExt cx="11521280" cy="216000"/>
          </a:xfrm>
        </p:grpSpPr>
        <p:cxnSp>
          <p:nvCxnSpPr>
            <p:cNvPr id="79" name="Gerader Verbinder 78">
              <a:extLst>
                <a:ext uri="{FF2B5EF4-FFF2-40B4-BE49-F238E27FC236}">
                  <a16:creationId xmlns:a16="http://schemas.microsoft.com/office/drawing/2014/main" id="{E95D2D6B-63C6-4F8E-973B-1BE9B06C438A}"/>
                </a:ext>
              </a:extLst>
            </p:cNvPr>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1CC66CB3-14CF-4140-B8B3-AB64D47ED6B1}"/>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29D9DF85-95D1-4F4B-B819-5B7F1272CC0A}"/>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2C04B768-73F1-4DC5-9A1E-A82D841F045D}"/>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79E7916E-D76A-4A9D-BF74-4C2CF8D150CC}"/>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49461A59-6751-4421-802A-909FC9DB911A}"/>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093FB3B1-A975-4C04-A03E-616F8C604D7A}"/>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09AB42B6-73A1-4426-A57D-EC81A2F9B9D4}"/>
                </a:ext>
              </a:extLst>
            </p:cNvPr>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4073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250"/>
                                        <p:tgtEl>
                                          <p:spTgt spid="55"/>
                                        </p:tgtEl>
                                      </p:cBhvr>
                                    </p:animEffect>
                                  </p:childTnLst>
                                </p:cTn>
                              </p:par>
                              <p:par>
                                <p:cTn id="8" presetID="10" presetClass="entr" presetSubtype="0" fill="hold" grpId="0" nodeType="withEffect">
                                  <p:stCondLst>
                                    <p:cond delay="45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250"/>
                                        <p:tgtEl>
                                          <p:spTgt spid="54"/>
                                        </p:tgtEl>
                                      </p:cBhvr>
                                    </p:animEffect>
                                  </p:childTnLst>
                                </p:cTn>
                              </p:par>
                              <p:par>
                                <p:cTn id="11" presetID="10" presetClass="entr" presetSubtype="0" fill="hold" grpId="0" nodeType="withEffect">
                                  <p:stCondLst>
                                    <p:cond delay="65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250"/>
                                        <p:tgtEl>
                                          <p:spTgt spid="53"/>
                                        </p:tgtEl>
                                      </p:cBhvr>
                                    </p:animEffect>
                                  </p:childTnLst>
                                </p:cTn>
                              </p:par>
                              <p:par>
                                <p:cTn id="14" presetID="10" presetClass="entr" presetSubtype="0" fill="hold" nodeType="withEffect">
                                  <p:stCondLst>
                                    <p:cond delay="75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63" presetClass="path" presetSubtype="0" decel="100000" fill="hold" nodeType="withEffect">
                                  <p:stCondLst>
                                    <p:cond delay="250"/>
                                  </p:stCondLst>
                                  <p:childTnLst>
                                    <p:animMotion origin="layout" path="M 5E-6 4.44444E-6 L 0.09649 4.44444E-6 " pathEditMode="relative" rAng="0" ptsTypes="AA">
                                      <p:cBhvr>
                                        <p:cTn id="18" dur="1000" spd="-100000" fill="hold"/>
                                        <p:tgtEl>
                                          <p:spTgt spid="28"/>
                                        </p:tgtEl>
                                        <p:attrNameLst>
                                          <p:attrName>ppt_x</p:attrName>
                                          <p:attrName>ppt_y</p:attrName>
                                        </p:attrNameLst>
                                      </p:cBhvr>
                                      <p:rCtr x="4818" y="0"/>
                                    </p:animMotion>
                                  </p:childTnLst>
                                </p:cTn>
                              </p:par>
                              <p:par>
                                <p:cTn id="19" presetID="10" presetClass="entr" presetSubtype="0" fill="hold" nodeType="withEffect">
                                  <p:stCondLst>
                                    <p:cond delay="75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par>
                                <p:cTn id="22" presetID="63" presetClass="path" presetSubtype="0" decel="100000" fill="hold" nodeType="withEffect">
                                  <p:stCondLst>
                                    <p:cond delay="250"/>
                                  </p:stCondLst>
                                  <p:childTnLst>
                                    <p:animMotion origin="layout" path="M 1.875E-6 4.07407E-6 L -0.09701 4.07407E-6 " pathEditMode="relative" rAng="0" ptsTypes="AA">
                                      <p:cBhvr>
                                        <p:cTn id="23" dur="1000" spd="-100000" fill="hold"/>
                                        <p:tgtEl>
                                          <p:spTgt spid="35"/>
                                        </p:tgtEl>
                                        <p:attrNameLst>
                                          <p:attrName>ppt_x</p:attrName>
                                          <p:attrName>ppt_y</p:attrName>
                                        </p:attrNameLst>
                                      </p:cBhvr>
                                      <p:rCtr x="-4857" y="0"/>
                                    </p:animMotion>
                                  </p:childTnLst>
                                </p:cTn>
                              </p:par>
                              <p:par>
                                <p:cTn id="24" presetID="10" presetClass="entr" presetSubtype="0" fill="hold" nodeType="withEffect">
                                  <p:stCondLst>
                                    <p:cond delay="5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8" presetClass="emph" presetSubtype="0" decel="100000" fill="hold" nodeType="withEffect">
                                  <p:stCondLst>
                                    <p:cond delay="0"/>
                                  </p:stCondLst>
                                  <p:childTnLst>
                                    <p:animRot by="10800000">
                                      <p:cBhvr>
                                        <p:cTn id="28" dur="2000" fill="hold"/>
                                        <p:tgtEl>
                                          <p:spTgt spid="4"/>
                                        </p:tgtEl>
                                        <p:attrNameLst>
                                          <p:attrName>r</p:attrName>
                                        </p:attrNameLst>
                                      </p:cBhvr>
                                    </p:animRot>
                                  </p:childTnLst>
                                </p:cTn>
                              </p:par>
                              <p:par>
                                <p:cTn id="29" presetID="35" presetClass="path" presetSubtype="0" accel="50000" decel="50000" fill="hold" nodeType="withEffect">
                                  <p:stCondLst>
                                    <p:cond delay="0"/>
                                  </p:stCondLst>
                                  <p:childTnLst>
                                    <p:animMotion origin="layout" path="M 6.25E-7 -3.7037E-7 L -0.0375 -3.7037E-7 " pathEditMode="relative" rAng="0" ptsTypes="AA">
                                      <p:cBhvr>
                                        <p:cTn id="30" dur="2000" spd="-100000" fill="hold"/>
                                        <p:tgtEl>
                                          <p:spTgt spid="4"/>
                                        </p:tgtEl>
                                        <p:attrNameLst>
                                          <p:attrName>ppt_x</p:attrName>
                                          <p:attrName>ppt_y</p:attrName>
                                        </p:attrNameLst>
                                      </p:cBhvr>
                                      <p:rCtr x="-1875" y="0"/>
                                    </p:animMotion>
                                  </p:childTnLst>
                                </p:cTn>
                              </p:par>
                              <p:par>
                                <p:cTn id="31" presetID="10" presetClass="entr" presetSubtype="0" fill="hold" nodeType="withEffect">
                                  <p:stCondLst>
                                    <p:cond delay="10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63" presetClass="path" presetSubtype="0" accel="50000" decel="50000" fill="hold" nodeType="withEffect">
                                  <p:stCondLst>
                                    <p:cond delay="0"/>
                                  </p:stCondLst>
                                  <p:childTnLst>
                                    <p:animMotion origin="layout" path="M -3.54167E-6 -3.33333E-6 L 0.25 -3.33333E-6 " pathEditMode="relative" rAng="0" ptsTypes="AA">
                                      <p:cBhvr>
                                        <p:cTn id="35" dur="1250" spd="-100000" fill="hold"/>
                                        <p:tgtEl>
                                          <p:spTgt spid="8"/>
                                        </p:tgtEl>
                                        <p:attrNameLst>
                                          <p:attrName>ppt_x</p:attrName>
                                          <p:attrName>ppt_y</p:attrName>
                                        </p:attrNameLst>
                                      </p:cBhvr>
                                      <p:rCtr x="12500" y="0"/>
                                    </p:animMotion>
                                  </p:childTnLst>
                                </p:cTn>
                              </p:par>
                              <p:par>
                                <p:cTn id="36" presetID="8" presetClass="emph" presetSubtype="0" decel="100000" fill="hold" nodeType="withEffect">
                                  <p:stCondLst>
                                    <p:cond delay="0"/>
                                  </p:stCondLst>
                                  <p:childTnLst>
                                    <p:animRot by="-10800000">
                                      <p:cBhvr>
                                        <p:cTn id="37" dur="2000" fill="hold"/>
                                        <p:tgtEl>
                                          <p:spTgt spid="8"/>
                                        </p:tgtEl>
                                        <p:attrNameLst>
                                          <p:attrName>r</p:attrName>
                                        </p:attrNameLst>
                                      </p:cBhvr>
                                    </p:animRot>
                                  </p:childTnLst>
                                </p:cTn>
                              </p:par>
                              <p:par>
                                <p:cTn id="38" presetID="10" presetClass="entr" presetSubtype="0" fill="hold" nodeType="withEffect">
                                  <p:stCondLst>
                                    <p:cond delay="125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35" presetClass="path" presetSubtype="0" accel="50000" decel="50000" fill="hold" nodeType="withEffect">
                                  <p:stCondLst>
                                    <p:cond delay="0"/>
                                  </p:stCondLst>
                                  <p:childTnLst>
                                    <p:animMotion origin="layout" path="M 2.5E-6 -1.85185E-6 L -0.46472 -1.85185E-6 " pathEditMode="relative" rAng="0" ptsTypes="AA">
                                      <p:cBhvr>
                                        <p:cTn id="42" dur="1000" spd="-100000" fill="hold"/>
                                        <p:tgtEl>
                                          <p:spTgt spid="7"/>
                                        </p:tgtEl>
                                        <p:attrNameLst>
                                          <p:attrName>ppt_x</p:attrName>
                                          <p:attrName>ppt_y</p:attrName>
                                        </p:attrNameLst>
                                      </p:cBhvr>
                                      <p:rCtr x="-23242" y="0"/>
                                    </p:animMotion>
                                  </p:childTnLst>
                                </p:cTn>
                              </p:par>
                              <p:par>
                                <p:cTn id="43" presetID="8" presetClass="emph" presetSubtype="0" decel="100000" fill="hold" nodeType="withEffect">
                                  <p:stCondLst>
                                    <p:cond delay="500"/>
                                  </p:stCondLst>
                                  <p:childTnLst>
                                    <p:animRot by="10800000">
                                      <p:cBhvr>
                                        <p:cTn id="44" dur="1500" fill="hold"/>
                                        <p:tgtEl>
                                          <p:spTgt spid="7"/>
                                        </p:tgtEl>
                                        <p:attrNameLst>
                                          <p:attrName>r</p:attrName>
                                        </p:attrNameLst>
                                      </p:cBhvr>
                                    </p:animRot>
                                  </p:childTnLst>
                                </p:cTn>
                              </p:par>
                              <p:par>
                                <p:cTn id="45" presetID="10" presetClass="entr" presetSubtype="0" fill="hold" nodeType="withEffect">
                                  <p:stCondLst>
                                    <p:cond delay="135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par>
                                <p:cTn id="48" presetID="63" presetClass="path" presetSubtype="0" accel="50000" decel="50000" fill="hold" nodeType="withEffect">
                                  <p:stCondLst>
                                    <p:cond delay="500"/>
                                  </p:stCondLst>
                                  <p:childTnLst>
                                    <p:animMotion origin="layout" path="M 0 2.96296E-6 L 0.03542 2.96296E-6 " pathEditMode="relative" rAng="0" ptsTypes="AA">
                                      <p:cBhvr>
                                        <p:cTn id="49" dur="1000" spd="-100000" fill="hold"/>
                                        <p:tgtEl>
                                          <p:spTgt spid="6"/>
                                        </p:tgtEl>
                                        <p:attrNameLst>
                                          <p:attrName>ppt_x</p:attrName>
                                          <p:attrName>ppt_y</p:attrName>
                                        </p:attrNameLst>
                                      </p:cBhvr>
                                      <p:rCtr x="1771" y="0"/>
                                    </p:animMotion>
                                  </p:childTnLst>
                                </p:cTn>
                              </p:par>
                              <p:par>
                                <p:cTn id="50" presetID="8" presetClass="emph" presetSubtype="0" decel="100000" fill="hold" nodeType="withEffect">
                                  <p:stCondLst>
                                    <p:cond delay="750"/>
                                  </p:stCondLst>
                                  <p:childTnLst>
                                    <p:animRot by="-10800000">
                                      <p:cBhvr>
                                        <p:cTn id="51" dur="1250" fill="hold"/>
                                        <p:tgtEl>
                                          <p:spTgt spid="6"/>
                                        </p:tgtEl>
                                        <p:attrNameLst>
                                          <p:attrName>r</p:attrName>
                                        </p:attrNameLst>
                                      </p:cBhvr>
                                    </p:animRot>
                                  </p:childTnLst>
                                </p:cTn>
                              </p:par>
                            </p:childTnLst>
                          </p:cTn>
                        </p:par>
                        <p:par>
                          <p:cTn id="52" fill="hold">
                            <p:stCondLst>
                              <p:cond delay="2000"/>
                            </p:stCondLst>
                            <p:childTnLst>
                              <p:par>
                                <p:cTn id="53" presetID="1" presetClass="exit" presetSubtype="0" fill="hold" nodeType="afterEffect">
                                  <p:stCondLst>
                                    <p:cond delay="0"/>
                                  </p:stCondLst>
                                  <p:childTnLst>
                                    <p:set>
                                      <p:cBhvr>
                                        <p:cTn id="54" dur="1" fill="hold">
                                          <p:stCondLst>
                                            <p:cond delay="0"/>
                                          </p:stCondLst>
                                        </p:cTn>
                                        <p:tgtEl>
                                          <p:spTgt spid="4"/>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7"/>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8"/>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6"/>
                                        </p:tgtEl>
                                        <p:attrNameLst>
                                          <p:attrName>style.visibility</p:attrName>
                                        </p:attrNameLst>
                                      </p:cBhvr>
                                      <p:to>
                                        <p:strVal val="hidden"/>
                                      </p:to>
                                    </p:set>
                                  </p:childTnLst>
                                </p:cTn>
                              </p:par>
                              <p:par>
                                <p:cTn id="61" presetID="1" presetClass="entr" presetSubtype="0"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3" grpId="0" animBg="1"/>
      <p:bldP spid="54" grpId="0" animBg="1"/>
      <p:bldP spid="55"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I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a:t>Heading </a:t>
            </a:r>
            <a:br>
              <a:rPr lang="en-GB"/>
            </a:br>
            <a:r>
              <a:rPr lang="en-GB"/>
              <a:t>in two lines. </a:t>
            </a:r>
          </a:p>
        </p:txBody>
      </p:sp>
      <p:sp>
        <p:nvSpPr>
          <p:cNvPr id="3" name="Inhaltsplatzhalter 2"/>
          <p:cNvSpPr>
            <a:spLocks noGrp="1"/>
          </p:cNvSpPr>
          <p:nvPr>
            <p:ph sz="half" idx="1" hasCustomPrompt="1"/>
          </p:nvPr>
        </p:nvSpPr>
        <p:spPr bwMode="gray">
          <a:xfrm>
            <a:off x="334963" y="1700213"/>
            <a:ext cx="5616405" cy="4824412"/>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4" name="Inhaltsplatzhalter 3"/>
          <p:cNvSpPr>
            <a:spLocks noGrp="1"/>
          </p:cNvSpPr>
          <p:nvPr>
            <p:ph sz="half" idx="2" hasCustomPrompt="1"/>
          </p:nvPr>
        </p:nvSpPr>
        <p:spPr bwMode="gray">
          <a:xfrm>
            <a:off x="6240016" y="1700212"/>
            <a:ext cx="5617022" cy="482441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6" name="Fußzeilenplatzhalter 5"/>
          <p:cNvSpPr>
            <a:spLocks noGrp="1"/>
          </p:cNvSpPr>
          <p:nvPr>
            <p:ph type="ftr" sz="quarter" idx="11"/>
          </p:nvPr>
        </p:nvSpPr>
        <p:spPr bwMode="gray"/>
        <p:txBody>
          <a:bodyPr/>
          <a:lstStyle/>
          <a:p>
            <a:r>
              <a:rPr lang="en-GB"/>
              <a:t>Green Gantry</a:t>
            </a:r>
            <a:endParaRPr lang="en-GB" i="1"/>
          </a:p>
        </p:txBody>
      </p:sp>
      <p:sp>
        <p:nvSpPr>
          <p:cNvPr id="7" name="Foliennummernplatzhalter 6"/>
          <p:cNvSpPr>
            <a:spLocks noGrp="1"/>
          </p:cNvSpPr>
          <p:nvPr>
            <p:ph type="sldNum" sz="quarter" idx="12"/>
          </p:nvPr>
        </p:nvSpPr>
        <p:spPr bwMode="gray"/>
        <p:txBody>
          <a:bodyPr/>
          <a:lstStyle/>
          <a:p>
            <a:fld id="{8FF9B0DE-3FEB-4AA0-B465-B80EF7C1333D}" type="slidenum">
              <a:rPr lang="en-GB" smtClean="0"/>
              <a:t>‹Nr.›</a:t>
            </a:fld>
            <a:endParaRPr lang="en-GB"/>
          </a:p>
        </p:txBody>
      </p:sp>
      <p:sp>
        <p:nvSpPr>
          <p:cNvPr id="10" name="Textplatzhalter 9"/>
          <p:cNvSpPr>
            <a:spLocks noGrp="1"/>
          </p:cNvSpPr>
          <p:nvPr>
            <p:ph type="body" sz="quarter" idx="14" hasCustomPrompt="1"/>
          </p:nvPr>
        </p:nvSpPr>
        <p:spPr bwMode="gray">
          <a:xfrm>
            <a:off x="334964" y="1125538"/>
            <a:ext cx="7561233" cy="287337"/>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pPr lvl="0"/>
            <a:r>
              <a:rPr lang="en-GB"/>
              <a:t>Optional Subheading in one line.</a:t>
            </a:r>
          </a:p>
        </p:txBody>
      </p:sp>
      <p:grpSp>
        <p:nvGrpSpPr>
          <p:cNvPr id="8" name="Gruppieren 7">
            <a:extLst>
              <a:ext uri="{FF2B5EF4-FFF2-40B4-BE49-F238E27FC236}">
                <a16:creationId xmlns:a16="http://schemas.microsoft.com/office/drawing/2014/main" id="{2BB110C2-2D4A-479D-AE8D-539799E9386D}"/>
              </a:ext>
            </a:extLst>
          </p:cNvPr>
          <p:cNvGrpSpPr/>
          <p:nvPr userDrawn="1"/>
        </p:nvGrpSpPr>
        <p:grpSpPr bwMode="gray">
          <a:xfrm>
            <a:off x="-168688" y="1700808"/>
            <a:ext cx="72000" cy="4824536"/>
            <a:chOff x="-456728" y="1700808"/>
            <a:chExt cx="216000" cy="4824536"/>
          </a:xfrm>
        </p:grpSpPr>
        <p:cxnSp>
          <p:nvCxnSpPr>
            <p:cNvPr id="9" name="Gerader Verbinder 8">
              <a:extLst>
                <a:ext uri="{FF2B5EF4-FFF2-40B4-BE49-F238E27FC236}">
                  <a16:creationId xmlns:a16="http://schemas.microsoft.com/office/drawing/2014/main" id="{7C26129B-94AD-4C05-81D3-84E89C3CBB85}"/>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82AF8904-DF60-4406-8864-43CE35F82BE1}"/>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 name="Gerader Verbinder 11">
            <a:extLst>
              <a:ext uri="{FF2B5EF4-FFF2-40B4-BE49-F238E27FC236}">
                <a16:creationId xmlns:a16="http://schemas.microsoft.com/office/drawing/2014/main" id="{7760EA34-6444-4403-994E-7A4CADD2E136}"/>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4352B3ED-190A-4CC6-B81D-45018CF0E571}"/>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81DB916A-A07C-4070-BF4E-2B6829DA5A11}"/>
              </a:ext>
            </a:extLst>
          </p:cNvPr>
          <p:cNvSpPr txBox="1"/>
          <p:nvPr userDrawn="1"/>
        </p:nvSpPr>
        <p:spPr bwMode="gray">
          <a:xfrm>
            <a:off x="-1427636" y="188640"/>
            <a:ext cx="1227414" cy="246221"/>
          </a:xfrm>
          <a:prstGeom prst="rect">
            <a:avLst/>
          </a:prstGeom>
          <a:noFill/>
        </p:spPr>
        <p:txBody>
          <a:bodyPr wrap="square">
            <a:spAutoFit/>
          </a:bodyPr>
          <a:lstStyle/>
          <a:p>
            <a:pPr algn="r"/>
            <a:r>
              <a:rPr lang="en-GB" sz="1000"/>
              <a:t>Headline</a:t>
            </a:r>
          </a:p>
        </p:txBody>
      </p:sp>
      <p:sp>
        <p:nvSpPr>
          <p:cNvPr id="15" name="Textfeld 14">
            <a:extLst>
              <a:ext uri="{FF2B5EF4-FFF2-40B4-BE49-F238E27FC236}">
                <a16:creationId xmlns:a16="http://schemas.microsoft.com/office/drawing/2014/main" id="{F7EE846A-305F-4756-8543-7056FAE7E7B8}"/>
              </a:ext>
            </a:extLst>
          </p:cNvPr>
          <p:cNvSpPr txBox="1"/>
          <p:nvPr userDrawn="1"/>
        </p:nvSpPr>
        <p:spPr bwMode="gray">
          <a:xfrm>
            <a:off x="-1427636" y="980728"/>
            <a:ext cx="1227414" cy="246221"/>
          </a:xfrm>
          <a:prstGeom prst="rect">
            <a:avLst/>
          </a:prstGeom>
          <a:noFill/>
        </p:spPr>
        <p:txBody>
          <a:bodyPr wrap="square">
            <a:spAutoFit/>
          </a:bodyPr>
          <a:lstStyle/>
          <a:p>
            <a:pPr algn="r"/>
            <a:r>
              <a:rPr lang="en-GB" sz="1000"/>
              <a:t>Subline</a:t>
            </a:r>
          </a:p>
        </p:txBody>
      </p:sp>
      <p:sp>
        <p:nvSpPr>
          <p:cNvPr id="17" name="Textfeld 16">
            <a:extLst>
              <a:ext uri="{FF2B5EF4-FFF2-40B4-BE49-F238E27FC236}">
                <a16:creationId xmlns:a16="http://schemas.microsoft.com/office/drawing/2014/main" id="{7EBB1790-8912-4FD0-AAC8-4C73A7C1349A}"/>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a:t>Content</a:t>
            </a:r>
          </a:p>
        </p:txBody>
      </p:sp>
    </p:spTree>
    <p:extLst>
      <p:ext uri="{BB962C8B-B14F-4D97-AF65-F5344CB8AC3E}">
        <p14:creationId xmlns:p14="http://schemas.microsoft.com/office/powerpoint/2010/main" val="3831577900"/>
      </p:ext>
    </p:extLst>
  </p:cSld>
  <p:clrMapOvr>
    <a:masterClrMapping/>
  </p:clrMapOvr>
  <p:extLst>
    <p:ext uri="{DCECCB84-F9BA-43D5-87BE-67443E8EF086}">
      <p15:sldGuideLst xmlns:p15="http://schemas.microsoft.com/office/powerpoint/2012/main">
        <p15:guide id="1" orient="horz" pos="1071" userDrawn="1">
          <p15:clr>
            <a:srgbClr val="5ACBF0"/>
          </p15:clr>
        </p15:guide>
        <p15:guide id="2" orient="horz" pos="709" userDrawn="1">
          <p15:clr>
            <a:srgbClr val="5ACBF0"/>
          </p15:clr>
        </p15:guide>
        <p15:guide id="3" pos="3749" userDrawn="1">
          <p15:clr>
            <a:srgbClr val="5ACBF0"/>
          </p15:clr>
        </p15:guide>
        <p15:guide id="4" pos="3931"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I 3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a:t>Heading </a:t>
            </a:r>
            <a:br>
              <a:rPr lang="en-GB"/>
            </a:br>
            <a:r>
              <a:rPr lang="en-GB"/>
              <a:t>in two lines.</a:t>
            </a:r>
          </a:p>
        </p:txBody>
      </p:sp>
      <p:sp>
        <p:nvSpPr>
          <p:cNvPr id="3" name="Inhaltsplatzhalter 2"/>
          <p:cNvSpPr>
            <a:spLocks noGrp="1"/>
          </p:cNvSpPr>
          <p:nvPr>
            <p:ph sz="half" idx="1" hasCustomPrompt="1"/>
          </p:nvPr>
        </p:nvSpPr>
        <p:spPr bwMode="gray">
          <a:xfrm>
            <a:off x="334963" y="1700212"/>
            <a:ext cx="3673475" cy="482446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4" name="Inhaltsplatzhalter 3"/>
          <p:cNvSpPr>
            <a:spLocks noGrp="1"/>
          </p:cNvSpPr>
          <p:nvPr>
            <p:ph sz="half" idx="2" hasCustomPrompt="1"/>
          </p:nvPr>
        </p:nvSpPr>
        <p:spPr bwMode="gray">
          <a:xfrm>
            <a:off x="4295776" y="1700213"/>
            <a:ext cx="3600450" cy="482441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6" name="Fußzeilenplatzhalter 5"/>
          <p:cNvSpPr>
            <a:spLocks noGrp="1"/>
          </p:cNvSpPr>
          <p:nvPr>
            <p:ph type="ftr" sz="quarter" idx="11"/>
          </p:nvPr>
        </p:nvSpPr>
        <p:spPr bwMode="gray"/>
        <p:txBody>
          <a:bodyPr/>
          <a:lstStyle/>
          <a:p>
            <a:r>
              <a:rPr lang="en-GB"/>
              <a:t>Green Gantry</a:t>
            </a:r>
            <a:endParaRPr lang="en-GB" i="1"/>
          </a:p>
        </p:txBody>
      </p:sp>
      <p:sp>
        <p:nvSpPr>
          <p:cNvPr id="7" name="Foliennummernplatzhalter 6"/>
          <p:cNvSpPr>
            <a:spLocks noGrp="1"/>
          </p:cNvSpPr>
          <p:nvPr>
            <p:ph type="sldNum" sz="quarter" idx="12"/>
          </p:nvPr>
        </p:nvSpPr>
        <p:spPr bwMode="gray"/>
        <p:txBody>
          <a:bodyPr/>
          <a:lstStyle/>
          <a:p>
            <a:fld id="{8FF9B0DE-3FEB-4AA0-B465-B80EF7C1333D}" type="slidenum">
              <a:rPr lang="en-GB" smtClean="0"/>
              <a:t>‹Nr.›</a:t>
            </a:fld>
            <a:endParaRPr lang="en-GB"/>
          </a:p>
        </p:txBody>
      </p:sp>
      <p:sp>
        <p:nvSpPr>
          <p:cNvPr id="8" name="Inhaltsplatzhalter 3"/>
          <p:cNvSpPr>
            <a:spLocks noGrp="1"/>
          </p:cNvSpPr>
          <p:nvPr>
            <p:ph sz="half" idx="13" hasCustomPrompt="1"/>
          </p:nvPr>
        </p:nvSpPr>
        <p:spPr bwMode="gray">
          <a:xfrm>
            <a:off x="8183564" y="1700213"/>
            <a:ext cx="3673474" cy="482441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10" name="Textplatzhalter 9"/>
          <p:cNvSpPr>
            <a:spLocks noGrp="1"/>
          </p:cNvSpPr>
          <p:nvPr>
            <p:ph type="body" sz="quarter" idx="15" hasCustomPrompt="1"/>
          </p:nvPr>
        </p:nvSpPr>
        <p:spPr bwMode="gray">
          <a:xfrm>
            <a:off x="334964" y="1124759"/>
            <a:ext cx="7561261" cy="288116"/>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pPr lvl="0"/>
            <a:r>
              <a:rPr lang="en-GB"/>
              <a:t>Optional Subheading in one line.</a:t>
            </a:r>
          </a:p>
        </p:txBody>
      </p:sp>
      <p:grpSp>
        <p:nvGrpSpPr>
          <p:cNvPr id="9" name="Gruppieren 8">
            <a:extLst>
              <a:ext uri="{FF2B5EF4-FFF2-40B4-BE49-F238E27FC236}">
                <a16:creationId xmlns:a16="http://schemas.microsoft.com/office/drawing/2014/main" id="{AD81D7BF-AC59-47AF-AF7F-263D2007CA7D}"/>
              </a:ext>
            </a:extLst>
          </p:cNvPr>
          <p:cNvGrpSpPr/>
          <p:nvPr userDrawn="1"/>
        </p:nvGrpSpPr>
        <p:grpSpPr bwMode="gray">
          <a:xfrm>
            <a:off x="-168688" y="1700808"/>
            <a:ext cx="72000" cy="4824536"/>
            <a:chOff x="-456728" y="1700808"/>
            <a:chExt cx="216000" cy="4824536"/>
          </a:xfrm>
        </p:grpSpPr>
        <p:cxnSp>
          <p:nvCxnSpPr>
            <p:cNvPr id="11" name="Gerader Verbinder 10">
              <a:extLst>
                <a:ext uri="{FF2B5EF4-FFF2-40B4-BE49-F238E27FC236}">
                  <a16:creationId xmlns:a16="http://schemas.microsoft.com/office/drawing/2014/main" id="{BC63D777-8B0E-4ACE-8388-8A130BC9FD5C}"/>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11329AA-7DBB-4D65-9F90-B77688B29E7D}"/>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 name="Gerader Verbinder 12">
            <a:extLst>
              <a:ext uri="{FF2B5EF4-FFF2-40B4-BE49-F238E27FC236}">
                <a16:creationId xmlns:a16="http://schemas.microsoft.com/office/drawing/2014/main" id="{4C40B4AD-B14C-430E-8A7D-DE617A917C43}"/>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8B2E2BC-A669-4A34-8C00-6A0068613BE6}"/>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A3CF5DA0-8039-4190-9C52-226E7BA81EC9}"/>
              </a:ext>
            </a:extLst>
          </p:cNvPr>
          <p:cNvSpPr txBox="1"/>
          <p:nvPr userDrawn="1"/>
        </p:nvSpPr>
        <p:spPr bwMode="gray">
          <a:xfrm>
            <a:off x="-1427636" y="188640"/>
            <a:ext cx="1227414" cy="246221"/>
          </a:xfrm>
          <a:prstGeom prst="rect">
            <a:avLst/>
          </a:prstGeom>
          <a:noFill/>
        </p:spPr>
        <p:txBody>
          <a:bodyPr wrap="square">
            <a:spAutoFit/>
          </a:bodyPr>
          <a:lstStyle/>
          <a:p>
            <a:pPr algn="r"/>
            <a:r>
              <a:rPr lang="en-GB" sz="1000"/>
              <a:t>Headline</a:t>
            </a:r>
          </a:p>
        </p:txBody>
      </p:sp>
      <p:sp>
        <p:nvSpPr>
          <p:cNvPr id="16" name="Textfeld 15">
            <a:extLst>
              <a:ext uri="{FF2B5EF4-FFF2-40B4-BE49-F238E27FC236}">
                <a16:creationId xmlns:a16="http://schemas.microsoft.com/office/drawing/2014/main" id="{13C3B20F-5AD2-43C6-B828-3AA28C234424}"/>
              </a:ext>
            </a:extLst>
          </p:cNvPr>
          <p:cNvSpPr txBox="1"/>
          <p:nvPr userDrawn="1"/>
        </p:nvSpPr>
        <p:spPr bwMode="gray">
          <a:xfrm>
            <a:off x="-1427636" y="980728"/>
            <a:ext cx="1227414" cy="246221"/>
          </a:xfrm>
          <a:prstGeom prst="rect">
            <a:avLst/>
          </a:prstGeom>
          <a:noFill/>
        </p:spPr>
        <p:txBody>
          <a:bodyPr wrap="square">
            <a:spAutoFit/>
          </a:bodyPr>
          <a:lstStyle/>
          <a:p>
            <a:pPr algn="r"/>
            <a:r>
              <a:rPr lang="en-GB" sz="1000"/>
              <a:t>Subline</a:t>
            </a:r>
          </a:p>
        </p:txBody>
      </p:sp>
      <p:sp>
        <p:nvSpPr>
          <p:cNvPr id="18" name="Textfeld 17">
            <a:extLst>
              <a:ext uri="{FF2B5EF4-FFF2-40B4-BE49-F238E27FC236}">
                <a16:creationId xmlns:a16="http://schemas.microsoft.com/office/drawing/2014/main" id="{24B617E5-A3FF-4B7A-8E6F-21F3E165C44E}"/>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a:t>Content</a:t>
            </a:r>
          </a:p>
        </p:txBody>
      </p:sp>
    </p:spTree>
    <p:extLst>
      <p:ext uri="{BB962C8B-B14F-4D97-AF65-F5344CB8AC3E}">
        <p14:creationId xmlns:p14="http://schemas.microsoft.com/office/powerpoint/2010/main" val="70907838"/>
      </p:ext>
    </p:extLst>
  </p:cSld>
  <p:clrMapOvr>
    <a:masterClrMapping/>
  </p:clrMapOvr>
  <p:extLst>
    <p:ext uri="{DCECCB84-F9BA-43D5-87BE-67443E8EF086}">
      <p15:sldGuideLst xmlns:p15="http://schemas.microsoft.com/office/powerpoint/2012/main">
        <p15:guide id="1" orient="horz" pos="1071" userDrawn="1">
          <p15:clr>
            <a:srgbClr val="5ACBF0"/>
          </p15:clr>
        </p15:guide>
        <p15:guide id="2" orient="horz" pos="709" userDrawn="1">
          <p15:clr>
            <a:srgbClr val="5ACBF0"/>
          </p15:clr>
        </p15:guide>
        <p15:guide id="3" pos="2525" userDrawn="1">
          <p15:clr>
            <a:srgbClr val="5ACBF0"/>
          </p15:clr>
        </p15:guide>
        <p15:guide id="4" pos="2706" userDrawn="1">
          <p15:clr>
            <a:srgbClr val="5ACBF0"/>
          </p15:clr>
        </p15:guide>
        <p15:guide id="5" pos="4974" userDrawn="1">
          <p15:clr>
            <a:srgbClr val="5ACBF0"/>
          </p15:clr>
        </p15:guide>
        <p15:guide id="6" pos="5155"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I Picture">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p:txBody>
          <a:bodyPr/>
          <a:lstStyle/>
          <a:p>
            <a:r>
              <a:rPr lang="en-GB"/>
              <a:t>Green Gantry</a:t>
            </a:r>
            <a:endParaRPr lang="en-GB" i="1"/>
          </a:p>
        </p:txBody>
      </p:sp>
      <p:sp>
        <p:nvSpPr>
          <p:cNvPr id="7" name="Foliennummernplatzhalter 6"/>
          <p:cNvSpPr>
            <a:spLocks noGrp="1"/>
          </p:cNvSpPr>
          <p:nvPr>
            <p:ph type="sldNum" sz="quarter" idx="12"/>
          </p:nvPr>
        </p:nvSpPr>
        <p:spPr bwMode="gray"/>
        <p:txBody>
          <a:bodyPr/>
          <a:lstStyle/>
          <a:p>
            <a:fld id="{8FF9B0DE-3FEB-4AA0-B465-B80EF7C1333D}" type="slidenum">
              <a:rPr lang="en-GB" smtClean="0"/>
              <a:t>‹Nr.›</a:t>
            </a:fld>
            <a:endParaRPr lang="en-GB"/>
          </a:p>
        </p:txBody>
      </p:sp>
      <p:sp>
        <p:nvSpPr>
          <p:cNvPr id="38" name="Bildplatzhalter 37">
            <a:extLst>
              <a:ext uri="{FF2B5EF4-FFF2-40B4-BE49-F238E27FC236}">
                <a16:creationId xmlns:a16="http://schemas.microsoft.com/office/drawing/2014/main" id="{CA948028-4509-4E0C-9E19-CA4530359C68}"/>
              </a:ext>
            </a:extLst>
          </p:cNvPr>
          <p:cNvSpPr>
            <a:spLocks noGrp="1"/>
          </p:cNvSpPr>
          <p:nvPr>
            <p:ph type="pic" sz="quarter" idx="16" hasCustomPrompt="1"/>
          </p:nvPr>
        </p:nvSpPr>
        <p:spPr bwMode="gray">
          <a:xfrm>
            <a:off x="991860" y="48055"/>
            <a:ext cx="5226149" cy="6809947"/>
          </a:xfrm>
          <a:custGeom>
            <a:avLst/>
            <a:gdLst>
              <a:gd name="connsiteX0" fmla="*/ 1993990 w 5226149"/>
              <a:gd name="connsiteY0" fmla="*/ 0 h 6809947"/>
              <a:gd name="connsiteX1" fmla="*/ 5226149 w 5226149"/>
              <a:gd name="connsiteY1" fmla="*/ 6809947 h 6809947"/>
              <a:gd name="connsiteX2" fmla="*/ 0 w 5226149"/>
              <a:gd name="connsiteY2" fmla="*/ 6809947 h 6809947"/>
            </a:gdLst>
            <a:ahLst/>
            <a:cxnLst>
              <a:cxn ang="0">
                <a:pos x="connsiteX0" y="connsiteY0"/>
              </a:cxn>
              <a:cxn ang="0">
                <a:pos x="connsiteX1" y="connsiteY1"/>
              </a:cxn>
              <a:cxn ang="0">
                <a:pos x="connsiteX2" y="connsiteY2"/>
              </a:cxn>
            </a:cxnLst>
            <a:rect l="l" t="t" r="r" b="b"/>
            <a:pathLst>
              <a:path w="5226149" h="6809947">
                <a:moveTo>
                  <a:pt x="1993990" y="0"/>
                </a:moveTo>
                <a:lnTo>
                  <a:pt x="5226149" y="6809947"/>
                </a:lnTo>
                <a:lnTo>
                  <a:pt x="0" y="6809947"/>
                </a:lnTo>
                <a:close/>
              </a:path>
            </a:pathLst>
          </a:custGeom>
          <a:solidFill>
            <a:schemeClr val="bg1">
              <a:lumMod val="85000"/>
            </a:schemeClr>
          </a:solidFill>
        </p:spPr>
        <p:txBody>
          <a:bodyPr wrap="square" lIns="396000" bIns="144000" anchor="b" anchorCtr="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pPr lvl="0"/>
            <a:r>
              <a:rPr lang="en-GB"/>
              <a:t>To add a picture, please click on the grey Polygon</a:t>
            </a:r>
            <a:br>
              <a:rPr lang="en-GB"/>
            </a:br>
            <a:r>
              <a:rPr lang="en-GB"/>
              <a:t>picture frame and bring it, with right click, into background. </a:t>
            </a:r>
            <a:br>
              <a:rPr lang="en-GB"/>
            </a:br>
            <a:br>
              <a:rPr lang="en-GB"/>
            </a:br>
            <a:r>
              <a:rPr lang="en-GB"/>
              <a:t>You can now insert a picture by clicking on the </a:t>
            </a:r>
            <a:br>
              <a:rPr lang="en-GB"/>
            </a:br>
            <a:r>
              <a:rPr lang="en-GB"/>
              <a:t>placeholder image icon. Then click the Reset </a:t>
            </a:r>
            <a:br>
              <a:rPr lang="en-GB"/>
            </a:br>
            <a:r>
              <a:rPr lang="en-GB"/>
              <a:t>button on the Home menu tab to send the picture </a:t>
            </a:r>
            <a:br>
              <a:rPr lang="en-GB"/>
            </a:br>
            <a:r>
              <a:rPr lang="en-GB"/>
              <a:t>to background.</a:t>
            </a:r>
          </a:p>
        </p:txBody>
      </p:sp>
      <p:grpSp>
        <p:nvGrpSpPr>
          <p:cNvPr id="10" name="Gruppieren 9">
            <a:extLst>
              <a:ext uri="{FF2B5EF4-FFF2-40B4-BE49-F238E27FC236}">
                <a16:creationId xmlns:a16="http://schemas.microsoft.com/office/drawing/2014/main" id="{355789BB-01AD-43CC-9FF7-67C015EAA380}"/>
              </a:ext>
            </a:extLst>
          </p:cNvPr>
          <p:cNvGrpSpPr/>
          <p:nvPr userDrawn="1"/>
        </p:nvGrpSpPr>
        <p:grpSpPr bwMode="gray">
          <a:xfrm>
            <a:off x="-168688" y="3501008"/>
            <a:ext cx="72000" cy="3024336"/>
            <a:chOff x="-456728" y="3501008"/>
            <a:chExt cx="216000" cy="3024336"/>
          </a:xfrm>
        </p:grpSpPr>
        <p:cxnSp>
          <p:nvCxnSpPr>
            <p:cNvPr id="11" name="Gerader Verbinder 10">
              <a:extLst>
                <a:ext uri="{FF2B5EF4-FFF2-40B4-BE49-F238E27FC236}">
                  <a16:creationId xmlns:a16="http://schemas.microsoft.com/office/drawing/2014/main" id="{F331175E-F9B5-4CAD-B760-96B8620A2D4D}"/>
                </a:ext>
              </a:extLst>
            </p:cNvPr>
            <p:cNvCxnSpPr/>
            <p:nvPr userDrawn="1"/>
          </p:nvCxnSpPr>
          <p:spPr bwMode="gray">
            <a:xfrm>
              <a:off x="-456728" y="35010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EEFAB282-28B2-457B-B0FE-2AE2299ED8CC}"/>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 name="Gerader Verbinder 13">
            <a:extLst>
              <a:ext uri="{FF2B5EF4-FFF2-40B4-BE49-F238E27FC236}">
                <a16:creationId xmlns:a16="http://schemas.microsoft.com/office/drawing/2014/main" id="{8724C439-13DE-490A-8B9C-43A825AB4F05}"/>
              </a:ext>
            </a:extLst>
          </p:cNvPr>
          <p:cNvCxnSpPr/>
          <p:nvPr userDrawn="1"/>
        </p:nvCxnSpPr>
        <p:spPr bwMode="gray">
          <a:xfrm>
            <a:off x="-168696" y="263691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559D17E-89A8-4104-BCB1-0D076C75C2E9}"/>
              </a:ext>
            </a:extLst>
          </p:cNvPr>
          <p:cNvCxnSpPr/>
          <p:nvPr userDrawn="1"/>
        </p:nvCxnSpPr>
        <p:spPr bwMode="gray">
          <a:xfrm>
            <a:off x="-168696" y="141277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D69A3915-AD71-4E43-AACF-BBAC3890EDB2}"/>
              </a:ext>
            </a:extLst>
          </p:cNvPr>
          <p:cNvSpPr txBox="1"/>
          <p:nvPr userDrawn="1"/>
        </p:nvSpPr>
        <p:spPr bwMode="gray">
          <a:xfrm>
            <a:off x="-1427636" y="1268760"/>
            <a:ext cx="1227414" cy="246221"/>
          </a:xfrm>
          <a:prstGeom prst="rect">
            <a:avLst/>
          </a:prstGeom>
          <a:noFill/>
        </p:spPr>
        <p:txBody>
          <a:bodyPr wrap="square">
            <a:spAutoFit/>
          </a:bodyPr>
          <a:lstStyle/>
          <a:p>
            <a:pPr algn="r"/>
            <a:r>
              <a:rPr lang="en-GB" sz="1000"/>
              <a:t>Headline</a:t>
            </a:r>
          </a:p>
        </p:txBody>
      </p:sp>
      <p:sp>
        <p:nvSpPr>
          <p:cNvPr id="17" name="Textfeld 16">
            <a:extLst>
              <a:ext uri="{FF2B5EF4-FFF2-40B4-BE49-F238E27FC236}">
                <a16:creationId xmlns:a16="http://schemas.microsoft.com/office/drawing/2014/main" id="{A2C1A2F3-9845-4E66-9742-3C252E5111D2}"/>
              </a:ext>
            </a:extLst>
          </p:cNvPr>
          <p:cNvSpPr txBox="1"/>
          <p:nvPr userDrawn="1"/>
        </p:nvSpPr>
        <p:spPr bwMode="gray">
          <a:xfrm>
            <a:off x="-1427636" y="2462699"/>
            <a:ext cx="1227414" cy="246221"/>
          </a:xfrm>
          <a:prstGeom prst="rect">
            <a:avLst/>
          </a:prstGeom>
          <a:noFill/>
        </p:spPr>
        <p:txBody>
          <a:bodyPr wrap="square">
            <a:spAutoFit/>
          </a:bodyPr>
          <a:lstStyle/>
          <a:p>
            <a:pPr algn="r"/>
            <a:r>
              <a:rPr lang="en-GB" sz="1000"/>
              <a:t>Subline</a:t>
            </a:r>
          </a:p>
        </p:txBody>
      </p:sp>
      <p:sp>
        <p:nvSpPr>
          <p:cNvPr id="18" name="Textfeld 17">
            <a:extLst>
              <a:ext uri="{FF2B5EF4-FFF2-40B4-BE49-F238E27FC236}">
                <a16:creationId xmlns:a16="http://schemas.microsoft.com/office/drawing/2014/main" id="{2E65E611-405D-4253-9916-FD329A33C0E5}"/>
              </a:ext>
            </a:extLst>
          </p:cNvPr>
          <p:cNvSpPr txBox="1"/>
          <p:nvPr userDrawn="1"/>
        </p:nvSpPr>
        <p:spPr bwMode="gray">
          <a:xfrm>
            <a:off x="-1427636" y="3356992"/>
            <a:ext cx="1227414" cy="246221"/>
          </a:xfrm>
          <a:prstGeom prst="rect">
            <a:avLst/>
          </a:prstGeom>
          <a:noFill/>
        </p:spPr>
        <p:txBody>
          <a:bodyPr wrap="square">
            <a:spAutoFit/>
          </a:bodyPr>
          <a:lstStyle/>
          <a:p>
            <a:pPr algn="r"/>
            <a:r>
              <a:rPr lang="en-GB" sz="1000"/>
              <a:t>Content</a:t>
            </a:r>
          </a:p>
        </p:txBody>
      </p:sp>
      <p:sp>
        <p:nvSpPr>
          <p:cNvPr id="19" name="Textplatzhalter 45">
            <a:extLst>
              <a:ext uri="{FF2B5EF4-FFF2-40B4-BE49-F238E27FC236}">
                <a16:creationId xmlns:a16="http://schemas.microsoft.com/office/drawing/2014/main" id="{69969114-5B3F-4FED-9421-FB305F512AC3}"/>
              </a:ext>
            </a:extLst>
          </p:cNvPr>
          <p:cNvSpPr>
            <a:spLocks noGrp="1"/>
          </p:cNvSpPr>
          <p:nvPr>
            <p:ph type="body" sz="quarter" idx="17" hasCustomPrompt="1"/>
          </p:nvPr>
        </p:nvSpPr>
        <p:spPr>
          <a:xfrm>
            <a:off x="3902829" y="1976402"/>
            <a:ext cx="3088800" cy="4881600"/>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20" name="Textplatzhalter 45">
            <a:extLst>
              <a:ext uri="{FF2B5EF4-FFF2-40B4-BE49-F238E27FC236}">
                <a16:creationId xmlns:a16="http://schemas.microsoft.com/office/drawing/2014/main" id="{0F5DD1E8-CCC1-43F9-85FF-4B4D1EE5491E}"/>
              </a:ext>
            </a:extLst>
          </p:cNvPr>
          <p:cNvSpPr>
            <a:spLocks noGrp="1"/>
          </p:cNvSpPr>
          <p:nvPr>
            <p:ph type="body" sz="quarter" idx="18" hasCustomPrompt="1"/>
          </p:nvPr>
        </p:nvSpPr>
        <p:spPr>
          <a:xfrm>
            <a:off x="1071610" y="-1575"/>
            <a:ext cx="2822400" cy="5637600"/>
          </a:xfr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2" name="Titel 1"/>
          <p:cNvSpPr>
            <a:spLocks noGrp="1"/>
          </p:cNvSpPr>
          <p:nvPr>
            <p:ph type="title" hasCustomPrompt="1"/>
          </p:nvPr>
        </p:nvSpPr>
        <p:spPr bwMode="gray">
          <a:xfrm>
            <a:off x="5951538" y="1412777"/>
            <a:ext cx="4897437" cy="1087110"/>
          </a:xfrm>
        </p:spPr>
        <p:txBody>
          <a:bodyPr/>
          <a:lstStyle>
            <a:lvl1pPr>
              <a:defRPr/>
            </a:lvl1pPr>
          </a:lstStyle>
          <a:p>
            <a:r>
              <a:rPr lang="en-GB"/>
              <a:t>Heading in maximum </a:t>
            </a:r>
            <a:br>
              <a:rPr lang="en-GB"/>
            </a:br>
            <a:r>
              <a:rPr lang="en-GB"/>
              <a:t>three lines. </a:t>
            </a:r>
          </a:p>
        </p:txBody>
      </p:sp>
      <p:sp>
        <p:nvSpPr>
          <p:cNvPr id="13" name="Textplatzhalter 9">
            <a:extLst>
              <a:ext uri="{FF2B5EF4-FFF2-40B4-BE49-F238E27FC236}">
                <a16:creationId xmlns:a16="http://schemas.microsoft.com/office/drawing/2014/main" id="{EE230483-401D-445D-A95F-5C4C7B286955}"/>
              </a:ext>
            </a:extLst>
          </p:cNvPr>
          <p:cNvSpPr>
            <a:spLocks noGrp="1"/>
          </p:cNvSpPr>
          <p:nvPr>
            <p:ph type="body" sz="quarter" idx="15" hasCustomPrompt="1"/>
          </p:nvPr>
        </p:nvSpPr>
        <p:spPr bwMode="gray">
          <a:xfrm>
            <a:off x="5951540" y="2643917"/>
            <a:ext cx="4897454" cy="525734"/>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r>
              <a:rPr lang="en-GB"/>
              <a:t>Optional Subheading in two lines.</a:t>
            </a:r>
          </a:p>
        </p:txBody>
      </p:sp>
      <p:sp>
        <p:nvSpPr>
          <p:cNvPr id="3" name="Inhaltsplatzhalter 2"/>
          <p:cNvSpPr>
            <a:spLocks noGrp="1"/>
          </p:cNvSpPr>
          <p:nvPr>
            <p:ph sz="half" idx="1" hasCustomPrompt="1"/>
          </p:nvPr>
        </p:nvSpPr>
        <p:spPr bwMode="gray">
          <a:xfrm>
            <a:off x="6960096" y="3501008"/>
            <a:ext cx="3889374" cy="191553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6604280"/>
      </p:ext>
    </p:extLst>
  </p:cSld>
  <p:clrMapOvr>
    <a:masterClrMapping/>
  </p:clrMapOvr>
  <p:extLst>
    <p:ext uri="{DCECCB84-F9BA-43D5-87BE-67443E8EF086}">
      <p15:sldGuideLst xmlns:p15="http://schemas.microsoft.com/office/powerpoint/2012/main">
        <p15:guide id="1" pos="4384" userDrawn="1">
          <p15:clr>
            <a:srgbClr val="5ACBF0"/>
          </p15:clr>
        </p15:guide>
        <p15:guide id="2" pos="6834" userDrawn="1">
          <p15:clr>
            <a:srgbClr val="5ACBF0"/>
          </p15:clr>
        </p15:guide>
        <p15:guide id="3" pos="3749" userDrawn="1">
          <p15:clr>
            <a:srgbClr val="5ACBF0"/>
          </p15:clr>
        </p15:guide>
        <p15:guide id="4" orient="horz" pos="890" userDrawn="1">
          <p15:clr>
            <a:srgbClr val="5ACBF0"/>
          </p15:clr>
        </p15:guide>
        <p15:guide id="5" orient="horz" pos="1661" userDrawn="1">
          <p15:clr>
            <a:srgbClr val="5ACBF0"/>
          </p15:clr>
        </p15:guide>
        <p15:guide id="6" orient="horz" pos="2205"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line I Picture">
    <p:spTree>
      <p:nvGrpSpPr>
        <p:cNvPr id="1" name=""/>
        <p:cNvGrpSpPr/>
        <p:nvPr/>
      </p:nvGrpSpPr>
      <p:grpSpPr>
        <a:xfrm>
          <a:off x="0" y="0"/>
          <a:ext cx="0" cy="0"/>
          <a:chOff x="0" y="0"/>
          <a:chExt cx="0" cy="0"/>
        </a:xfrm>
      </p:grpSpPr>
      <p:sp>
        <p:nvSpPr>
          <p:cNvPr id="29" name="Bildplatzhalter 28">
            <a:extLst>
              <a:ext uri="{FF2B5EF4-FFF2-40B4-BE49-F238E27FC236}">
                <a16:creationId xmlns:a16="http://schemas.microsoft.com/office/drawing/2014/main" id="{1AA89D16-C148-481E-B556-B41263B0A97C}"/>
              </a:ext>
            </a:extLst>
          </p:cNvPr>
          <p:cNvSpPr>
            <a:spLocks noGrp="1"/>
          </p:cNvSpPr>
          <p:nvPr>
            <p:ph type="pic" sz="quarter" idx="10" hasCustomPrompt="1"/>
          </p:nvPr>
        </p:nvSpPr>
        <p:spPr bwMode="gray">
          <a:xfrm>
            <a:off x="0" y="-3159"/>
            <a:ext cx="12043508" cy="6861158"/>
          </a:xfrm>
          <a:custGeom>
            <a:avLst/>
            <a:gdLst>
              <a:gd name="connsiteX0" fmla="*/ 0 w 12148670"/>
              <a:gd name="connsiteY0" fmla="*/ 0 h 6857998"/>
              <a:gd name="connsiteX1" fmla="*/ 7165332 w 12148670"/>
              <a:gd name="connsiteY1" fmla="*/ 0 h 6857998"/>
              <a:gd name="connsiteX2" fmla="*/ 12148670 w 12148670"/>
              <a:gd name="connsiteY2" fmla="*/ 1458447 h 6857998"/>
              <a:gd name="connsiteX3" fmla="*/ 774301 w 12148670"/>
              <a:gd name="connsiteY3" fmla="*/ 6857998 h 6857998"/>
              <a:gd name="connsiteX4" fmla="*/ 0 w 12148670"/>
              <a:gd name="connsiteY4" fmla="*/ 6857998 h 6857998"/>
              <a:gd name="connsiteX0" fmla="*/ 0 w 12148670"/>
              <a:gd name="connsiteY0" fmla="*/ 63069 h 6921067"/>
              <a:gd name="connsiteX1" fmla="*/ 6952473 w 12148670"/>
              <a:gd name="connsiteY1" fmla="*/ 0 h 6921067"/>
              <a:gd name="connsiteX2" fmla="*/ 12148670 w 12148670"/>
              <a:gd name="connsiteY2" fmla="*/ 1521516 h 6921067"/>
              <a:gd name="connsiteX3" fmla="*/ 774301 w 12148670"/>
              <a:gd name="connsiteY3" fmla="*/ 6921067 h 6921067"/>
              <a:gd name="connsiteX4" fmla="*/ 0 w 12148670"/>
              <a:gd name="connsiteY4" fmla="*/ 6921067 h 6921067"/>
              <a:gd name="connsiteX5" fmla="*/ 0 w 12148670"/>
              <a:gd name="connsiteY5" fmla="*/ 63069 h 6921067"/>
              <a:gd name="connsiteX0" fmla="*/ 0 w 12148670"/>
              <a:gd name="connsiteY0" fmla="*/ 0 h 6921067"/>
              <a:gd name="connsiteX1" fmla="*/ 6952473 w 12148670"/>
              <a:gd name="connsiteY1" fmla="*/ 0 h 6921067"/>
              <a:gd name="connsiteX2" fmla="*/ 12148670 w 12148670"/>
              <a:gd name="connsiteY2" fmla="*/ 1521516 h 6921067"/>
              <a:gd name="connsiteX3" fmla="*/ 774301 w 12148670"/>
              <a:gd name="connsiteY3" fmla="*/ 6921067 h 6921067"/>
              <a:gd name="connsiteX4" fmla="*/ 0 w 12148670"/>
              <a:gd name="connsiteY4" fmla="*/ 6921067 h 6921067"/>
              <a:gd name="connsiteX5" fmla="*/ 0 w 12148670"/>
              <a:gd name="connsiteY5" fmla="*/ 0 h 69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8670" h="6921067">
                <a:moveTo>
                  <a:pt x="0" y="0"/>
                </a:moveTo>
                <a:lnTo>
                  <a:pt x="6952473" y="0"/>
                </a:lnTo>
                <a:lnTo>
                  <a:pt x="12148670" y="1521516"/>
                </a:lnTo>
                <a:lnTo>
                  <a:pt x="774301" y="6921067"/>
                </a:lnTo>
                <a:lnTo>
                  <a:pt x="0" y="6921067"/>
                </a:lnTo>
                <a:lnTo>
                  <a:pt x="0" y="0"/>
                </a:lnTo>
                <a:close/>
              </a:path>
            </a:pathLst>
          </a:custGeom>
          <a:solidFill>
            <a:schemeClr val="bg1">
              <a:lumMod val="85000"/>
            </a:schemeClr>
          </a:solidFill>
        </p:spPr>
        <p:txBody>
          <a:bodyPr wrap="square" lIns="144000" tIns="14400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pPr lvl="0"/>
            <a:r>
              <a:rPr lang="en-GB"/>
              <a:t>To add a picture, please click on the yellow Polygon</a:t>
            </a:r>
            <a:br>
              <a:rPr lang="en-GB"/>
            </a:br>
            <a:r>
              <a:rPr lang="en-GB"/>
              <a:t>picture frame and bring it, with right click, into background. </a:t>
            </a:r>
            <a:br>
              <a:rPr lang="en-GB"/>
            </a:br>
            <a:br>
              <a:rPr lang="en-GB"/>
            </a:br>
            <a:r>
              <a:rPr lang="en-GB"/>
              <a:t>You can now insert a picture by clicking on the </a:t>
            </a:r>
            <a:br>
              <a:rPr lang="en-GB"/>
            </a:br>
            <a:r>
              <a:rPr lang="en-GB"/>
              <a:t>placeholder image icon. Then click the Reset </a:t>
            </a:r>
            <a:br>
              <a:rPr lang="en-GB"/>
            </a:br>
            <a:r>
              <a:rPr lang="en-GB"/>
              <a:t>button on the Home menu tab to send the picture </a:t>
            </a:r>
            <a:br>
              <a:rPr lang="en-GB"/>
            </a:br>
            <a:r>
              <a:rPr lang="en-GB"/>
              <a:t>to background.</a:t>
            </a:r>
          </a:p>
        </p:txBody>
      </p:sp>
      <p:sp>
        <p:nvSpPr>
          <p:cNvPr id="11" name="Textplatzhalter 45">
            <a:extLst>
              <a:ext uri="{FF2B5EF4-FFF2-40B4-BE49-F238E27FC236}">
                <a16:creationId xmlns:a16="http://schemas.microsoft.com/office/drawing/2014/main" id="{6BA03426-450C-4DF6-92F5-6B2929310D09}"/>
              </a:ext>
            </a:extLst>
          </p:cNvPr>
          <p:cNvSpPr>
            <a:spLocks noGrp="1"/>
          </p:cNvSpPr>
          <p:nvPr>
            <p:ph type="body" sz="quarter" idx="16" hasCustomPrompt="1"/>
          </p:nvPr>
        </p:nvSpPr>
        <p:spPr>
          <a:xfrm>
            <a:off x="151" y="3254399"/>
            <a:ext cx="8362800" cy="3603600"/>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12" name="Textplatzhalter 45">
            <a:extLst>
              <a:ext uri="{FF2B5EF4-FFF2-40B4-BE49-F238E27FC236}">
                <a16:creationId xmlns:a16="http://schemas.microsoft.com/office/drawing/2014/main" id="{F14CD5F8-E13E-4AD0-9665-929814552EB8}"/>
              </a:ext>
            </a:extLst>
          </p:cNvPr>
          <p:cNvSpPr>
            <a:spLocks noGrp="1"/>
          </p:cNvSpPr>
          <p:nvPr>
            <p:ph type="body" sz="quarter" idx="17" hasCustomPrompt="1"/>
          </p:nvPr>
        </p:nvSpPr>
        <p:spPr>
          <a:xfrm>
            <a:off x="5055213" y="-3159"/>
            <a:ext cx="7135200" cy="2944800"/>
          </a:xfr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6" name="Fußzeilenplatzhalter 5"/>
          <p:cNvSpPr>
            <a:spLocks noGrp="1"/>
          </p:cNvSpPr>
          <p:nvPr>
            <p:ph type="ftr" sz="quarter" idx="11"/>
          </p:nvPr>
        </p:nvSpPr>
        <p:spPr bwMode="gray"/>
        <p:txBody>
          <a:bodyPr/>
          <a:lstStyle>
            <a:lvl1pPr>
              <a:defRPr>
                <a:solidFill>
                  <a:schemeClr val="bg1"/>
                </a:solidFill>
              </a:defRPr>
            </a:lvl1pPr>
          </a:lstStyle>
          <a:p>
            <a:r>
              <a:rPr lang="en-GB"/>
              <a:t>Green Gantry</a:t>
            </a:r>
            <a:endParaRPr lang="en-GB" i="1"/>
          </a:p>
        </p:txBody>
      </p:sp>
      <p:sp>
        <p:nvSpPr>
          <p:cNvPr id="7" name="Foliennummernplatzhalter 6"/>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Nr.›</a:t>
            </a:fld>
            <a:endParaRPr lang="en-GB"/>
          </a:p>
        </p:txBody>
      </p:sp>
      <p:sp>
        <p:nvSpPr>
          <p:cNvPr id="2" name="Titel 1"/>
          <p:cNvSpPr>
            <a:spLocks noGrp="1"/>
          </p:cNvSpPr>
          <p:nvPr>
            <p:ph type="title" hasCustomPrompt="1"/>
          </p:nvPr>
        </p:nvSpPr>
        <p:spPr bwMode="gray">
          <a:xfrm>
            <a:off x="6959600" y="5085184"/>
            <a:ext cx="3889375" cy="1087110"/>
          </a:xfrm>
        </p:spPr>
        <p:txBody>
          <a:bodyPr anchor="t" anchorCtr="0"/>
          <a:lstStyle>
            <a:lvl1pPr>
              <a:defRPr/>
            </a:lvl1pPr>
          </a:lstStyle>
          <a:p>
            <a:r>
              <a:rPr lang="en-GB"/>
              <a:t>Heading in maximum </a:t>
            </a:r>
            <a:br>
              <a:rPr lang="en-GB"/>
            </a:br>
            <a:r>
              <a:rPr lang="en-GB"/>
              <a:t>three lines. </a:t>
            </a:r>
          </a:p>
        </p:txBody>
      </p:sp>
      <p:sp>
        <p:nvSpPr>
          <p:cNvPr id="17" name="Textplatzhalter 45">
            <a:extLst>
              <a:ext uri="{FF2B5EF4-FFF2-40B4-BE49-F238E27FC236}">
                <a16:creationId xmlns:a16="http://schemas.microsoft.com/office/drawing/2014/main" id="{3EDFAC8B-D2A8-48CE-98F3-E009D241E8F3}"/>
              </a:ext>
            </a:extLst>
          </p:cNvPr>
          <p:cNvSpPr>
            <a:spLocks noGrp="1"/>
          </p:cNvSpPr>
          <p:nvPr>
            <p:ph type="body" sz="quarter" idx="14" hasCustomPrompt="1"/>
          </p:nvPr>
        </p:nvSpPr>
        <p:spPr bwMode="gray">
          <a:xfrm>
            <a:off x="11135478" y="-52"/>
            <a:ext cx="7200" cy="460800"/>
          </a:xfrm>
          <a:solidFill>
            <a:schemeClr val="tx2"/>
          </a:solid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
        <p:nvSpPr>
          <p:cNvPr id="19" name="Textplatzhalter 45">
            <a:extLst>
              <a:ext uri="{FF2B5EF4-FFF2-40B4-BE49-F238E27FC236}">
                <a16:creationId xmlns:a16="http://schemas.microsoft.com/office/drawing/2014/main" id="{D251B89C-2735-4D6A-80A4-2CCF994E2D38}"/>
              </a:ext>
            </a:extLst>
          </p:cNvPr>
          <p:cNvSpPr>
            <a:spLocks noGrp="1"/>
          </p:cNvSpPr>
          <p:nvPr>
            <p:ph type="body" sz="quarter" idx="15" hasCustomPrompt="1"/>
          </p:nvPr>
        </p:nvSpPr>
        <p:spPr bwMode="gray">
          <a:xfrm>
            <a:off x="10701432" y="302348"/>
            <a:ext cx="7200" cy="158400"/>
          </a:xfrm>
          <a:solidFill>
            <a:schemeClr val="tx2"/>
          </a:solid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
        <p:nvSpPr>
          <p:cNvPr id="20" name="Textplatzhalter 45">
            <a:extLst>
              <a:ext uri="{FF2B5EF4-FFF2-40B4-BE49-F238E27FC236}">
                <a16:creationId xmlns:a16="http://schemas.microsoft.com/office/drawing/2014/main" id="{0AF45F53-76B7-4D36-9328-44C78B55F1A3}"/>
              </a:ext>
            </a:extLst>
          </p:cNvPr>
          <p:cNvSpPr>
            <a:spLocks noGrp="1"/>
          </p:cNvSpPr>
          <p:nvPr>
            <p:ph type="body" sz="quarter" idx="13" hasCustomPrompt="1"/>
          </p:nvPr>
        </p:nvSpPr>
        <p:spPr bwMode="gray">
          <a:xfrm>
            <a:off x="11208568" y="311701"/>
            <a:ext cx="720080" cy="120132"/>
          </a:xfr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Tree>
    <p:extLst>
      <p:ext uri="{BB962C8B-B14F-4D97-AF65-F5344CB8AC3E}">
        <p14:creationId xmlns:p14="http://schemas.microsoft.com/office/powerpoint/2010/main" val="3721815764"/>
      </p:ext>
    </p:extLst>
  </p:cSld>
  <p:clrMapOvr>
    <a:masterClrMapping/>
  </p:clrMapOvr>
  <p:extLst>
    <p:ext uri="{DCECCB84-F9BA-43D5-87BE-67443E8EF086}">
      <p15:sldGuideLst xmlns:p15="http://schemas.microsoft.com/office/powerpoint/2012/main">
        <p15:guide id="1" pos="4384" userDrawn="1">
          <p15:clr>
            <a:srgbClr val="5ACBF0"/>
          </p15:clr>
        </p15:guide>
        <p15:guide id="2" pos="683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I Picture I Arrow">
    <p:bg>
      <p:bgPr>
        <a:solidFill>
          <a:schemeClr val="bg2"/>
        </a:solidFill>
        <a:effectLst/>
      </p:bgPr>
    </p:bg>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13637C27-E6FF-41D8-8492-2FEA93D0273C}"/>
              </a:ext>
            </a:extLst>
          </p:cNvPr>
          <p:cNvSpPr>
            <a:spLocks noGrp="1"/>
          </p:cNvSpPr>
          <p:nvPr>
            <p:ph type="pic" sz="quarter" idx="10" hasCustomPrompt="1"/>
          </p:nvPr>
        </p:nvSpPr>
        <p:spPr bwMode="gray">
          <a:xfrm>
            <a:off x="0" y="0"/>
            <a:ext cx="12192000" cy="6858000"/>
          </a:xfrm>
          <a:custGeom>
            <a:avLst/>
            <a:gdLst>
              <a:gd name="connsiteX0" fmla="*/ 1616558 w 12192000"/>
              <a:gd name="connsiteY0" fmla="*/ 4998030 h 6858000"/>
              <a:gd name="connsiteX1" fmla="*/ 49212 w 12192000"/>
              <a:gd name="connsiteY1" fmla="*/ 6858000 h 6858000"/>
              <a:gd name="connsiteX2" fmla="*/ 0 w 12192000"/>
              <a:gd name="connsiteY2" fmla="*/ 6858000 h 6858000"/>
              <a:gd name="connsiteX3" fmla="*/ 0 w 12192000"/>
              <a:gd name="connsiteY3" fmla="*/ 5047688 h 6858000"/>
              <a:gd name="connsiteX4" fmla="*/ 0 w 12192000"/>
              <a:gd name="connsiteY4" fmla="*/ 0 h 6858000"/>
              <a:gd name="connsiteX5" fmla="*/ 12192000 w 12192000"/>
              <a:gd name="connsiteY5" fmla="*/ 0 h 6858000"/>
              <a:gd name="connsiteX6" fmla="*/ 12192000 w 12192000"/>
              <a:gd name="connsiteY6" fmla="*/ 6858000 h 6858000"/>
              <a:gd name="connsiteX7" fmla="*/ 1989379 w 12192000"/>
              <a:gd name="connsiteY7" fmla="*/ 6858000 h 6858000"/>
              <a:gd name="connsiteX8" fmla="*/ 3449183 w 12192000"/>
              <a:gd name="connsiteY8" fmla="*/ 5093322 h 6858000"/>
              <a:gd name="connsiteX9" fmla="*/ 3844516 w 12192000"/>
              <a:gd name="connsiteY9" fmla="*/ 3754526 h 6858000"/>
              <a:gd name="connsiteX10" fmla="*/ 2978547 w 12192000"/>
              <a:gd name="connsiteY10" fmla="*/ 3327441 h 6858000"/>
              <a:gd name="connsiteX11" fmla="*/ 0 w 12192000"/>
              <a:gd name="connsiteY11" fmla="*/ 333549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1616558" y="4998030"/>
                </a:moveTo>
                <a:lnTo>
                  <a:pt x="49212" y="6858000"/>
                </a:lnTo>
                <a:lnTo>
                  <a:pt x="0" y="6858000"/>
                </a:lnTo>
                <a:lnTo>
                  <a:pt x="0" y="5047688"/>
                </a:lnTo>
                <a:close/>
                <a:moveTo>
                  <a:pt x="0" y="0"/>
                </a:moveTo>
                <a:lnTo>
                  <a:pt x="12192000" y="0"/>
                </a:lnTo>
                <a:lnTo>
                  <a:pt x="12192000" y="6858000"/>
                </a:lnTo>
                <a:lnTo>
                  <a:pt x="1989379" y="6858000"/>
                </a:lnTo>
                <a:lnTo>
                  <a:pt x="3449183" y="5093322"/>
                </a:lnTo>
                <a:cubicBezTo>
                  <a:pt x="3864307" y="4589811"/>
                  <a:pt x="4010331" y="4101831"/>
                  <a:pt x="3844516" y="3754526"/>
                </a:cubicBezTo>
                <a:cubicBezTo>
                  <a:pt x="3768877" y="3595264"/>
                  <a:pt x="3556284" y="3326978"/>
                  <a:pt x="2978547" y="3327441"/>
                </a:cubicBezTo>
                <a:lnTo>
                  <a:pt x="0" y="3335498"/>
                </a:lnTo>
                <a:close/>
              </a:path>
            </a:pathLst>
          </a:custGeom>
          <a:solidFill>
            <a:schemeClr val="bg1">
              <a:lumMod val="85000"/>
            </a:schemeClr>
          </a:solidFill>
        </p:spPr>
        <p:txBody>
          <a:bodyPr wrap="square" lIns="144000" tIns="144000" rIns="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a:t>Image Placeholder</a:t>
            </a:r>
          </a:p>
        </p:txBody>
      </p:sp>
      <p:sp>
        <p:nvSpPr>
          <p:cNvPr id="6" name="Fußzeilenplatzhalter 5"/>
          <p:cNvSpPr>
            <a:spLocks noGrp="1"/>
          </p:cNvSpPr>
          <p:nvPr>
            <p:ph type="ftr" sz="quarter" idx="11"/>
          </p:nvPr>
        </p:nvSpPr>
        <p:spPr bwMode="gray"/>
        <p:txBody>
          <a:bodyPr/>
          <a:lstStyle>
            <a:lvl1pPr>
              <a:defRPr>
                <a:solidFill>
                  <a:schemeClr val="bg1"/>
                </a:solidFill>
              </a:defRPr>
            </a:lvl1pPr>
          </a:lstStyle>
          <a:p>
            <a:r>
              <a:rPr lang="en-GB"/>
              <a:t>Green Gantry</a:t>
            </a:r>
            <a:endParaRPr lang="en-GB" i="1"/>
          </a:p>
        </p:txBody>
      </p:sp>
      <p:sp>
        <p:nvSpPr>
          <p:cNvPr id="7" name="Foliennummernplatzhalter 6"/>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Nr.›</a:t>
            </a:fld>
            <a:endParaRPr lang="en-GB"/>
          </a:p>
        </p:txBody>
      </p:sp>
      <p:sp>
        <p:nvSpPr>
          <p:cNvPr id="8" name="Textplatzhalter 45">
            <a:extLst>
              <a:ext uri="{FF2B5EF4-FFF2-40B4-BE49-F238E27FC236}">
                <a16:creationId xmlns:a16="http://schemas.microsoft.com/office/drawing/2014/main" id="{EC3EA27C-7CA1-439F-84F8-F0C4D9273515}"/>
              </a:ext>
            </a:extLst>
          </p:cNvPr>
          <p:cNvSpPr>
            <a:spLocks noGrp="1"/>
          </p:cNvSpPr>
          <p:nvPr>
            <p:ph type="body" sz="quarter" idx="14" hasCustomPrompt="1"/>
          </p:nvPr>
        </p:nvSpPr>
        <p:spPr bwMode="gray">
          <a:xfrm>
            <a:off x="11135478" y="-52"/>
            <a:ext cx="7200" cy="460800"/>
          </a:xfrm>
          <a:solidFill>
            <a:schemeClr val="tx2"/>
          </a:solid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
        <p:nvSpPr>
          <p:cNvPr id="9" name="Textplatzhalter 45">
            <a:extLst>
              <a:ext uri="{FF2B5EF4-FFF2-40B4-BE49-F238E27FC236}">
                <a16:creationId xmlns:a16="http://schemas.microsoft.com/office/drawing/2014/main" id="{5F368604-34C7-407C-97BB-53CCF193D7A5}"/>
              </a:ext>
            </a:extLst>
          </p:cNvPr>
          <p:cNvSpPr>
            <a:spLocks noGrp="1"/>
          </p:cNvSpPr>
          <p:nvPr>
            <p:ph type="body" sz="quarter" idx="15" hasCustomPrompt="1"/>
          </p:nvPr>
        </p:nvSpPr>
        <p:spPr bwMode="gray">
          <a:xfrm>
            <a:off x="10701432" y="302348"/>
            <a:ext cx="7200" cy="158400"/>
          </a:xfrm>
          <a:solidFill>
            <a:schemeClr val="tx2"/>
          </a:solid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
        <p:nvSpPr>
          <p:cNvPr id="10" name="Textplatzhalter 45">
            <a:extLst>
              <a:ext uri="{FF2B5EF4-FFF2-40B4-BE49-F238E27FC236}">
                <a16:creationId xmlns:a16="http://schemas.microsoft.com/office/drawing/2014/main" id="{584CAC2D-9CE2-4DE2-8B54-C17450FDC3CF}"/>
              </a:ext>
            </a:extLst>
          </p:cNvPr>
          <p:cNvSpPr>
            <a:spLocks noGrp="1"/>
          </p:cNvSpPr>
          <p:nvPr>
            <p:ph type="body" sz="quarter" idx="13" hasCustomPrompt="1"/>
          </p:nvPr>
        </p:nvSpPr>
        <p:spPr bwMode="gray">
          <a:xfrm>
            <a:off x="11208568" y="311701"/>
            <a:ext cx="720080" cy="120132"/>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en-GB"/>
              <a:t> </a:t>
            </a:r>
          </a:p>
        </p:txBody>
      </p:sp>
      <p:sp>
        <p:nvSpPr>
          <p:cNvPr id="15" name="Titel 1">
            <a:extLst>
              <a:ext uri="{FF2B5EF4-FFF2-40B4-BE49-F238E27FC236}">
                <a16:creationId xmlns:a16="http://schemas.microsoft.com/office/drawing/2014/main" id="{4D8C8EE7-623E-469C-84EA-9E17C6FD2A72}"/>
              </a:ext>
            </a:extLst>
          </p:cNvPr>
          <p:cNvSpPr>
            <a:spLocks noGrp="1"/>
          </p:cNvSpPr>
          <p:nvPr>
            <p:ph type="title" hasCustomPrompt="1"/>
          </p:nvPr>
        </p:nvSpPr>
        <p:spPr bwMode="gray">
          <a:xfrm>
            <a:off x="335575" y="3645024"/>
            <a:ext cx="2880105" cy="1087110"/>
          </a:xfrm>
        </p:spPr>
        <p:txBody>
          <a:bodyPr anchor="t" anchorCtr="0"/>
          <a:lstStyle>
            <a:lvl1pPr>
              <a:defRPr/>
            </a:lvl1pPr>
          </a:lstStyle>
          <a:p>
            <a:r>
              <a:rPr lang="en-GB"/>
              <a:t>Heading in maximum </a:t>
            </a:r>
            <a:br>
              <a:rPr lang="en-GB"/>
            </a:br>
            <a:r>
              <a:rPr lang="en-GB"/>
              <a:t>three lines. </a:t>
            </a:r>
          </a:p>
        </p:txBody>
      </p:sp>
    </p:spTree>
    <p:extLst>
      <p:ext uri="{BB962C8B-B14F-4D97-AF65-F5344CB8AC3E}">
        <p14:creationId xmlns:p14="http://schemas.microsoft.com/office/powerpoint/2010/main" val="1622635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I Picture I Dark grey surface">
    <p:spTree>
      <p:nvGrpSpPr>
        <p:cNvPr id="1" name=""/>
        <p:cNvGrpSpPr/>
        <p:nvPr/>
      </p:nvGrpSpPr>
      <p:grpSpPr>
        <a:xfrm>
          <a:off x="0" y="0"/>
          <a:ext cx="0" cy="0"/>
          <a:chOff x="0" y="0"/>
          <a:chExt cx="0" cy="0"/>
        </a:xfrm>
      </p:grpSpPr>
      <p:sp>
        <p:nvSpPr>
          <p:cNvPr id="12" name="Bildplatzhalter 28">
            <a:extLst>
              <a:ext uri="{FF2B5EF4-FFF2-40B4-BE49-F238E27FC236}">
                <a16:creationId xmlns:a16="http://schemas.microsoft.com/office/drawing/2014/main" id="{A4BF466B-A4C3-4885-829A-624DE71CE7FE}"/>
              </a:ext>
            </a:extLst>
          </p:cNvPr>
          <p:cNvSpPr>
            <a:spLocks noGrp="1"/>
          </p:cNvSpPr>
          <p:nvPr>
            <p:ph type="pic" sz="quarter" idx="10" hasCustomPrompt="1"/>
          </p:nvPr>
        </p:nvSpPr>
        <p:spPr bwMode="gray">
          <a:xfrm>
            <a:off x="0" y="-3159"/>
            <a:ext cx="12043508" cy="6861158"/>
          </a:xfrm>
          <a:custGeom>
            <a:avLst/>
            <a:gdLst>
              <a:gd name="connsiteX0" fmla="*/ 0 w 12148670"/>
              <a:gd name="connsiteY0" fmla="*/ 0 h 6857998"/>
              <a:gd name="connsiteX1" fmla="*/ 7165332 w 12148670"/>
              <a:gd name="connsiteY1" fmla="*/ 0 h 6857998"/>
              <a:gd name="connsiteX2" fmla="*/ 12148670 w 12148670"/>
              <a:gd name="connsiteY2" fmla="*/ 1458447 h 6857998"/>
              <a:gd name="connsiteX3" fmla="*/ 774301 w 12148670"/>
              <a:gd name="connsiteY3" fmla="*/ 6857998 h 6857998"/>
              <a:gd name="connsiteX4" fmla="*/ 0 w 12148670"/>
              <a:gd name="connsiteY4" fmla="*/ 6857998 h 6857998"/>
              <a:gd name="connsiteX0" fmla="*/ 0 w 12148670"/>
              <a:gd name="connsiteY0" fmla="*/ 63069 h 6921067"/>
              <a:gd name="connsiteX1" fmla="*/ 6952473 w 12148670"/>
              <a:gd name="connsiteY1" fmla="*/ 0 h 6921067"/>
              <a:gd name="connsiteX2" fmla="*/ 12148670 w 12148670"/>
              <a:gd name="connsiteY2" fmla="*/ 1521516 h 6921067"/>
              <a:gd name="connsiteX3" fmla="*/ 774301 w 12148670"/>
              <a:gd name="connsiteY3" fmla="*/ 6921067 h 6921067"/>
              <a:gd name="connsiteX4" fmla="*/ 0 w 12148670"/>
              <a:gd name="connsiteY4" fmla="*/ 6921067 h 6921067"/>
              <a:gd name="connsiteX5" fmla="*/ 0 w 12148670"/>
              <a:gd name="connsiteY5" fmla="*/ 63069 h 6921067"/>
              <a:gd name="connsiteX0" fmla="*/ 0 w 12148670"/>
              <a:gd name="connsiteY0" fmla="*/ 0 h 6921067"/>
              <a:gd name="connsiteX1" fmla="*/ 6952473 w 12148670"/>
              <a:gd name="connsiteY1" fmla="*/ 0 h 6921067"/>
              <a:gd name="connsiteX2" fmla="*/ 12148670 w 12148670"/>
              <a:gd name="connsiteY2" fmla="*/ 1521516 h 6921067"/>
              <a:gd name="connsiteX3" fmla="*/ 774301 w 12148670"/>
              <a:gd name="connsiteY3" fmla="*/ 6921067 h 6921067"/>
              <a:gd name="connsiteX4" fmla="*/ 0 w 12148670"/>
              <a:gd name="connsiteY4" fmla="*/ 6921067 h 6921067"/>
              <a:gd name="connsiteX5" fmla="*/ 0 w 12148670"/>
              <a:gd name="connsiteY5" fmla="*/ 0 h 69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8670" h="6921067">
                <a:moveTo>
                  <a:pt x="0" y="0"/>
                </a:moveTo>
                <a:lnTo>
                  <a:pt x="6952473" y="0"/>
                </a:lnTo>
                <a:lnTo>
                  <a:pt x="12148670" y="1521516"/>
                </a:lnTo>
                <a:lnTo>
                  <a:pt x="774301" y="6921067"/>
                </a:lnTo>
                <a:lnTo>
                  <a:pt x="0" y="6921067"/>
                </a:lnTo>
                <a:lnTo>
                  <a:pt x="0" y="0"/>
                </a:lnTo>
                <a:close/>
              </a:path>
            </a:pathLst>
          </a:custGeom>
          <a:solidFill>
            <a:srgbClr val="575756"/>
          </a:solidFill>
        </p:spPr>
        <p:txBody>
          <a:bodyPr wrap="square" lIns="144000" tIns="144000">
            <a:noAutofit/>
          </a:bodyPr>
          <a:lstStyle>
            <a:lvl1pPr>
              <a:spcBef>
                <a:spcPts val="0"/>
              </a:spcBef>
              <a:defRPr sz="800" b="0" i="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pPr lvl="0"/>
            <a:r>
              <a:rPr lang="en-GB"/>
              <a:t>To add a picture, please click on the yellow Polygon picture frame and bring it, with right click, into background. </a:t>
            </a:r>
            <a:br>
              <a:rPr lang="en-GB"/>
            </a:br>
            <a:r>
              <a:rPr lang="en-GB"/>
              <a:t>Please do the same with the Text Placeholder.</a:t>
            </a:r>
            <a:br>
              <a:rPr lang="en-GB"/>
            </a:br>
            <a:br>
              <a:rPr lang="en-GB"/>
            </a:br>
            <a:r>
              <a:rPr lang="en-GB"/>
              <a:t>You can now insert a picture by clicking on the placeholder image icon. Then click the Reset </a:t>
            </a:r>
            <a:br>
              <a:rPr lang="en-GB"/>
            </a:br>
            <a:r>
              <a:rPr lang="en-GB"/>
              <a:t>button on the Home menu tab to send the picture to background.</a:t>
            </a:r>
          </a:p>
        </p:txBody>
      </p:sp>
      <p:sp>
        <p:nvSpPr>
          <p:cNvPr id="6" name="Fußzeilenplatzhalter 5"/>
          <p:cNvSpPr>
            <a:spLocks noGrp="1"/>
          </p:cNvSpPr>
          <p:nvPr>
            <p:ph type="ftr" sz="quarter" idx="11"/>
          </p:nvPr>
        </p:nvSpPr>
        <p:spPr bwMode="gray"/>
        <p:txBody>
          <a:bodyPr/>
          <a:lstStyle/>
          <a:p>
            <a:r>
              <a:rPr lang="en-GB"/>
              <a:t>Green Gantry</a:t>
            </a:r>
            <a:endParaRPr lang="en-GB" i="1"/>
          </a:p>
        </p:txBody>
      </p:sp>
      <p:sp>
        <p:nvSpPr>
          <p:cNvPr id="7" name="Foliennummernplatzhalter 6"/>
          <p:cNvSpPr>
            <a:spLocks noGrp="1"/>
          </p:cNvSpPr>
          <p:nvPr>
            <p:ph type="sldNum" sz="quarter" idx="12"/>
          </p:nvPr>
        </p:nvSpPr>
        <p:spPr bwMode="gray"/>
        <p:txBody>
          <a:bodyPr/>
          <a:lstStyle/>
          <a:p>
            <a:fld id="{8FF9B0DE-3FEB-4AA0-B465-B80EF7C1333D}" type="slidenum">
              <a:rPr lang="en-GB" smtClean="0"/>
              <a:t>‹Nr.›</a:t>
            </a:fld>
            <a:endParaRPr lang="en-GB"/>
          </a:p>
        </p:txBody>
      </p:sp>
      <p:sp>
        <p:nvSpPr>
          <p:cNvPr id="10" name="Inhaltsplatzhalter 2">
            <a:extLst>
              <a:ext uri="{FF2B5EF4-FFF2-40B4-BE49-F238E27FC236}">
                <a16:creationId xmlns:a16="http://schemas.microsoft.com/office/drawing/2014/main" id="{3F8448AC-B60B-41F6-BA6E-D15D1BFD1F1A}"/>
              </a:ext>
            </a:extLst>
          </p:cNvPr>
          <p:cNvSpPr>
            <a:spLocks noGrp="1"/>
          </p:cNvSpPr>
          <p:nvPr>
            <p:ph sz="half" idx="1" hasCustomPrompt="1"/>
          </p:nvPr>
        </p:nvSpPr>
        <p:spPr bwMode="gray">
          <a:xfrm>
            <a:off x="1200150" y="947010"/>
            <a:ext cx="5756612" cy="262600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rgbClr val="DADADA"/>
              </a:buClr>
              <a:defRPr>
                <a:solidFill>
                  <a:schemeClr val="bg1"/>
                </a:solidFill>
              </a:defRPr>
            </a:lvl4pPr>
            <a:lvl5pPr>
              <a:buClr>
                <a:srgbClr val="DADADA"/>
              </a:buClr>
              <a:defRPr>
                <a:solidFill>
                  <a:schemeClr val="bg1"/>
                </a:solidFill>
              </a:defRPr>
            </a:lvl5pPr>
            <a:lvl6pPr>
              <a:buClr>
                <a:srgbClr val="DADADA"/>
              </a:buClr>
              <a:defRPr>
                <a:solidFill>
                  <a:schemeClr val="bg1"/>
                </a:solidFill>
              </a:defRPr>
            </a:lvl6pPr>
            <a:lvl7pPr>
              <a:buClr>
                <a:srgbClr val="DADADA"/>
              </a:buClr>
              <a:defRPr>
                <a:solidFill>
                  <a:schemeClr val="bg1"/>
                </a:solidFill>
              </a:defRPr>
            </a:lvl7pPr>
            <a:lvl8pPr>
              <a:buClr>
                <a:srgbClr val="DADADA"/>
              </a:buClr>
              <a:defRPr>
                <a:solidFill>
                  <a:schemeClr val="bg1"/>
                </a:solidFill>
              </a:defRPr>
            </a:lvl8pPr>
            <a:lvl9pPr>
              <a:buClr>
                <a:srgbClr val="DADADA"/>
              </a:buClr>
              <a:defRPr>
                <a:solidFill>
                  <a:schemeClr val="bg1"/>
                </a:solidFill>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2" name="Titel 1"/>
          <p:cNvSpPr>
            <a:spLocks noGrp="1"/>
          </p:cNvSpPr>
          <p:nvPr>
            <p:ph type="title" hasCustomPrompt="1"/>
          </p:nvPr>
        </p:nvSpPr>
        <p:spPr bwMode="gray">
          <a:xfrm>
            <a:off x="6959600" y="5085184"/>
            <a:ext cx="3889375" cy="1087110"/>
          </a:xfrm>
        </p:spPr>
        <p:txBody>
          <a:bodyPr anchor="t" anchorCtr="0"/>
          <a:lstStyle>
            <a:lvl1pPr>
              <a:defRPr/>
            </a:lvl1pPr>
          </a:lstStyle>
          <a:p>
            <a:r>
              <a:rPr lang="en-GB" err="1"/>
              <a:t>Folientitel</a:t>
            </a:r>
            <a:r>
              <a:rPr lang="en-GB"/>
              <a:t>.</a:t>
            </a:r>
          </a:p>
        </p:txBody>
      </p:sp>
      <p:sp>
        <p:nvSpPr>
          <p:cNvPr id="8" name="Textplatzhalter 45">
            <a:extLst>
              <a:ext uri="{FF2B5EF4-FFF2-40B4-BE49-F238E27FC236}">
                <a16:creationId xmlns:a16="http://schemas.microsoft.com/office/drawing/2014/main" id="{898412D7-E3FB-445E-BCB0-BF91BFEBFD56}"/>
              </a:ext>
            </a:extLst>
          </p:cNvPr>
          <p:cNvSpPr>
            <a:spLocks noGrp="1"/>
          </p:cNvSpPr>
          <p:nvPr>
            <p:ph type="body" sz="quarter" idx="17" hasCustomPrompt="1"/>
          </p:nvPr>
        </p:nvSpPr>
        <p:spPr>
          <a:xfrm>
            <a:off x="0" y="3139199"/>
            <a:ext cx="8600400" cy="3718800"/>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Tree>
    <p:extLst>
      <p:ext uri="{BB962C8B-B14F-4D97-AF65-F5344CB8AC3E}">
        <p14:creationId xmlns:p14="http://schemas.microsoft.com/office/powerpoint/2010/main" val="3605636233"/>
      </p:ext>
    </p:extLst>
  </p:cSld>
  <p:clrMapOvr>
    <a:masterClrMapping/>
  </p:clrMapOvr>
  <p:extLst>
    <p:ext uri="{DCECCB84-F9BA-43D5-87BE-67443E8EF086}">
      <p15:sldGuideLst xmlns:p15="http://schemas.microsoft.com/office/powerpoint/2012/main">
        <p15:guide id="1" pos="4384" userDrawn="1">
          <p15:clr>
            <a:srgbClr val="5ACBF0"/>
          </p15:clr>
        </p15:guide>
        <p15:guide id="2" pos="6834" userDrawn="1">
          <p15:clr>
            <a:srgbClr val="5ACBF0"/>
          </p15:clr>
        </p15:guide>
        <p15:guide id="3" pos="756" userDrawn="1">
          <p15:clr>
            <a:srgbClr val="5ACBF0"/>
          </p15:clr>
        </p15:guide>
        <p15:guide id="4" orient="horz" pos="3203"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I Screenshots I Graphics I Arrow">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p:txBody>
          <a:bodyPr/>
          <a:lstStyle/>
          <a:p>
            <a:r>
              <a:rPr lang="en-GB"/>
              <a:t>Green Gantry</a:t>
            </a:r>
            <a:endParaRPr lang="en-GB" i="1"/>
          </a:p>
        </p:txBody>
      </p:sp>
      <p:sp>
        <p:nvSpPr>
          <p:cNvPr id="7" name="Foliennummernplatzhalter 6"/>
          <p:cNvSpPr>
            <a:spLocks noGrp="1"/>
          </p:cNvSpPr>
          <p:nvPr>
            <p:ph type="sldNum" sz="quarter" idx="12"/>
          </p:nvPr>
        </p:nvSpPr>
        <p:spPr bwMode="gray"/>
        <p:txBody>
          <a:bodyPr/>
          <a:lstStyle/>
          <a:p>
            <a:fld id="{8FF9B0DE-3FEB-4AA0-B465-B80EF7C1333D}" type="slidenum">
              <a:rPr lang="en-GB" smtClean="0"/>
              <a:t>‹Nr.›</a:t>
            </a:fld>
            <a:endParaRPr lang="en-GB"/>
          </a:p>
        </p:txBody>
      </p:sp>
      <p:pic>
        <p:nvPicPr>
          <p:cNvPr id="4" name="Grafik 3">
            <a:extLst>
              <a:ext uri="{FF2B5EF4-FFF2-40B4-BE49-F238E27FC236}">
                <a16:creationId xmlns:a16="http://schemas.microsoft.com/office/drawing/2014/main" id="{B67A4E91-B1A8-4485-B196-1DE7CD7F89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0" y="0"/>
            <a:ext cx="4008438" cy="3940956"/>
          </a:xfrm>
          <a:prstGeom prst="rect">
            <a:avLst/>
          </a:prstGeom>
        </p:spPr>
      </p:pic>
      <p:sp>
        <p:nvSpPr>
          <p:cNvPr id="2" name="Titel 1"/>
          <p:cNvSpPr>
            <a:spLocks noGrp="1"/>
          </p:cNvSpPr>
          <p:nvPr>
            <p:ph type="title" hasCustomPrompt="1"/>
          </p:nvPr>
        </p:nvSpPr>
        <p:spPr bwMode="gray">
          <a:xfrm>
            <a:off x="1200149" y="1425451"/>
            <a:ext cx="4032235" cy="1087110"/>
          </a:xfrm>
        </p:spPr>
        <p:txBody>
          <a:bodyPr/>
          <a:lstStyle>
            <a:lvl1pPr>
              <a:defRPr/>
            </a:lvl1pPr>
          </a:lstStyle>
          <a:p>
            <a:r>
              <a:rPr lang="en-GB"/>
              <a:t>Heading in maximum </a:t>
            </a:r>
            <a:br>
              <a:rPr lang="en-GB"/>
            </a:br>
            <a:r>
              <a:rPr lang="en-GB"/>
              <a:t>three lines. </a:t>
            </a:r>
          </a:p>
        </p:txBody>
      </p:sp>
      <p:sp>
        <p:nvSpPr>
          <p:cNvPr id="13" name="Textplatzhalter 9">
            <a:extLst>
              <a:ext uri="{FF2B5EF4-FFF2-40B4-BE49-F238E27FC236}">
                <a16:creationId xmlns:a16="http://schemas.microsoft.com/office/drawing/2014/main" id="{EE230483-401D-445D-A95F-5C4C7B286955}"/>
              </a:ext>
            </a:extLst>
          </p:cNvPr>
          <p:cNvSpPr>
            <a:spLocks noGrp="1"/>
          </p:cNvSpPr>
          <p:nvPr>
            <p:ph type="body" sz="quarter" idx="15" hasCustomPrompt="1"/>
          </p:nvPr>
        </p:nvSpPr>
        <p:spPr bwMode="gray">
          <a:xfrm>
            <a:off x="1200150" y="2656591"/>
            <a:ext cx="4032249" cy="525734"/>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r>
              <a:rPr lang="en-GB"/>
              <a:t>Optional Subheading in two lines.</a:t>
            </a:r>
          </a:p>
        </p:txBody>
      </p:sp>
      <p:sp>
        <p:nvSpPr>
          <p:cNvPr id="10" name="Textplatzhalter 7">
            <a:extLst>
              <a:ext uri="{FF2B5EF4-FFF2-40B4-BE49-F238E27FC236}">
                <a16:creationId xmlns:a16="http://schemas.microsoft.com/office/drawing/2014/main" id="{DC1FA1BC-D12C-47B7-A529-353EA1D8D20D}"/>
              </a:ext>
            </a:extLst>
          </p:cNvPr>
          <p:cNvSpPr>
            <a:spLocks noGrp="1"/>
          </p:cNvSpPr>
          <p:nvPr>
            <p:ph type="body" sz="quarter" idx="16" hasCustomPrompt="1"/>
          </p:nvPr>
        </p:nvSpPr>
        <p:spPr>
          <a:xfrm>
            <a:off x="2063750" y="3501008"/>
            <a:ext cx="3168635" cy="1915530"/>
          </a:xfrm>
        </p:spPr>
        <p:txBody>
          <a:body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grpSp>
        <p:nvGrpSpPr>
          <p:cNvPr id="8" name="Gruppieren 7">
            <a:extLst>
              <a:ext uri="{FF2B5EF4-FFF2-40B4-BE49-F238E27FC236}">
                <a16:creationId xmlns:a16="http://schemas.microsoft.com/office/drawing/2014/main" id="{21101EAE-22C7-4F7C-9916-3C843F2F7CD8}"/>
              </a:ext>
            </a:extLst>
          </p:cNvPr>
          <p:cNvGrpSpPr/>
          <p:nvPr userDrawn="1"/>
        </p:nvGrpSpPr>
        <p:grpSpPr bwMode="gray">
          <a:xfrm>
            <a:off x="-168688" y="3501008"/>
            <a:ext cx="72000" cy="3024336"/>
            <a:chOff x="-456728" y="3501008"/>
            <a:chExt cx="216000" cy="3024336"/>
          </a:xfrm>
        </p:grpSpPr>
        <p:cxnSp>
          <p:nvCxnSpPr>
            <p:cNvPr id="9" name="Gerader Verbinder 8">
              <a:extLst>
                <a:ext uri="{FF2B5EF4-FFF2-40B4-BE49-F238E27FC236}">
                  <a16:creationId xmlns:a16="http://schemas.microsoft.com/office/drawing/2014/main" id="{5D055F5B-A459-49A6-B2D3-54DBBDE62513}"/>
                </a:ext>
              </a:extLst>
            </p:cNvPr>
            <p:cNvCxnSpPr/>
            <p:nvPr userDrawn="1"/>
          </p:nvCxnSpPr>
          <p:spPr bwMode="gray">
            <a:xfrm>
              <a:off x="-456728" y="35010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CB7A6B0D-6A62-493B-ACDA-4293E078BDCA}"/>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 name="Gerader Verbinder 11">
            <a:extLst>
              <a:ext uri="{FF2B5EF4-FFF2-40B4-BE49-F238E27FC236}">
                <a16:creationId xmlns:a16="http://schemas.microsoft.com/office/drawing/2014/main" id="{2C27F3F9-8BA7-4F5C-83B2-B8338510B082}"/>
              </a:ext>
            </a:extLst>
          </p:cNvPr>
          <p:cNvCxnSpPr/>
          <p:nvPr userDrawn="1"/>
        </p:nvCxnSpPr>
        <p:spPr bwMode="gray">
          <a:xfrm>
            <a:off x="-168696" y="263691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FA505561-BFE2-45A2-895A-EE08CF8EFC03}"/>
              </a:ext>
            </a:extLst>
          </p:cNvPr>
          <p:cNvCxnSpPr/>
          <p:nvPr userDrawn="1"/>
        </p:nvCxnSpPr>
        <p:spPr bwMode="gray">
          <a:xfrm>
            <a:off x="-168696" y="141277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77B3332B-6991-4F26-BE48-C85464171990}"/>
              </a:ext>
            </a:extLst>
          </p:cNvPr>
          <p:cNvSpPr txBox="1"/>
          <p:nvPr userDrawn="1"/>
        </p:nvSpPr>
        <p:spPr bwMode="gray">
          <a:xfrm>
            <a:off x="-1427636" y="1268760"/>
            <a:ext cx="1227414" cy="246221"/>
          </a:xfrm>
          <a:prstGeom prst="rect">
            <a:avLst/>
          </a:prstGeom>
          <a:noFill/>
        </p:spPr>
        <p:txBody>
          <a:bodyPr wrap="square">
            <a:spAutoFit/>
          </a:bodyPr>
          <a:lstStyle/>
          <a:p>
            <a:pPr algn="r"/>
            <a:r>
              <a:rPr lang="en-GB" sz="1000"/>
              <a:t>Headline</a:t>
            </a:r>
          </a:p>
        </p:txBody>
      </p:sp>
      <p:sp>
        <p:nvSpPr>
          <p:cNvPr id="16" name="Textfeld 15">
            <a:extLst>
              <a:ext uri="{FF2B5EF4-FFF2-40B4-BE49-F238E27FC236}">
                <a16:creationId xmlns:a16="http://schemas.microsoft.com/office/drawing/2014/main" id="{E8390E2E-4FCB-4388-A529-8B179352E384}"/>
              </a:ext>
            </a:extLst>
          </p:cNvPr>
          <p:cNvSpPr txBox="1"/>
          <p:nvPr userDrawn="1"/>
        </p:nvSpPr>
        <p:spPr bwMode="gray">
          <a:xfrm>
            <a:off x="-1427636" y="2462699"/>
            <a:ext cx="1227414" cy="246221"/>
          </a:xfrm>
          <a:prstGeom prst="rect">
            <a:avLst/>
          </a:prstGeom>
          <a:noFill/>
        </p:spPr>
        <p:txBody>
          <a:bodyPr wrap="square">
            <a:spAutoFit/>
          </a:bodyPr>
          <a:lstStyle/>
          <a:p>
            <a:pPr algn="r"/>
            <a:r>
              <a:rPr lang="en-GB" sz="1000"/>
              <a:t>Subline</a:t>
            </a:r>
          </a:p>
        </p:txBody>
      </p:sp>
      <p:sp>
        <p:nvSpPr>
          <p:cNvPr id="17" name="Textfeld 16">
            <a:extLst>
              <a:ext uri="{FF2B5EF4-FFF2-40B4-BE49-F238E27FC236}">
                <a16:creationId xmlns:a16="http://schemas.microsoft.com/office/drawing/2014/main" id="{0D26B174-8A3B-4946-93EC-D9F6C8CD7A38}"/>
              </a:ext>
            </a:extLst>
          </p:cNvPr>
          <p:cNvSpPr txBox="1"/>
          <p:nvPr userDrawn="1"/>
        </p:nvSpPr>
        <p:spPr bwMode="gray">
          <a:xfrm>
            <a:off x="-1427636" y="3356992"/>
            <a:ext cx="1227414" cy="246221"/>
          </a:xfrm>
          <a:prstGeom prst="rect">
            <a:avLst/>
          </a:prstGeom>
          <a:noFill/>
        </p:spPr>
        <p:txBody>
          <a:bodyPr wrap="square">
            <a:spAutoFit/>
          </a:bodyPr>
          <a:lstStyle/>
          <a:p>
            <a:pPr algn="r"/>
            <a:r>
              <a:rPr lang="en-GB" sz="1000"/>
              <a:t>Content</a:t>
            </a:r>
          </a:p>
        </p:txBody>
      </p:sp>
      <p:sp>
        <p:nvSpPr>
          <p:cNvPr id="20" name="Bildplatzhalter 19">
            <a:extLst>
              <a:ext uri="{FF2B5EF4-FFF2-40B4-BE49-F238E27FC236}">
                <a16:creationId xmlns:a16="http://schemas.microsoft.com/office/drawing/2014/main" id="{E7EA7487-FA87-4180-AAB5-2F0F38399EC4}"/>
              </a:ext>
            </a:extLst>
          </p:cNvPr>
          <p:cNvSpPr>
            <a:spLocks noGrp="1"/>
          </p:cNvSpPr>
          <p:nvPr>
            <p:ph type="pic" sz="quarter" idx="10" hasCustomPrompt="1"/>
          </p:nvPr>
        </p:nvSpPr>
        <p:spPr bwMode="gray">
          <a:xfrm>
            <a:off x="6240001" y="1425451"/>
            <a:ext cx="5617036" cy="5099171"/>
          </a:xfrm>
          <a:custGeom>
            <a:avLst/>
            <a:gdLst>
              <a:gd name="connsiteX0" fmla="*/ 0 w 6312024"/>
              <a:gd name="connsiteY0" fmla="*/ 0 h 6858000"/>
              <a:gd name="connsiteX1" fmla="*/ 6312024 w 6312024"/>
              <a:gd name="connsiteY1" fmla="*/ 0 h 6858000"/>
              <a:gd name="connsiteX2" fmla="*/ 6312024 w 6312024"/>
              <a:gd name="connsiteY2" fmla="*/ 6858000 h 6858000"/>
              <a:gd name="connsiteX3" fmla="*/ 0 w 631202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12024" h="6858000">
                <a:moveTo>
                  <a:pt x="0" y="0"/>
                </a:moveTo>
                <a:lnTo>
                  <a:pt x="6312024" y="0"/>
                </a:lnTo>
                <a:lnTo>
                  <a:pt x="6312024" y="6858000"/>
                </a:lnTo>
                <a:lnTo>
                  <a:pt x="0" y="6858000"/>
                </a:lnTo>
                <a:close/>
              </a:path>
            </a:pathLst>
          </a:custGeom>
          <a:solidFill>
            <a:schemeClr val="bg1">
              <a:lumMod val="85000"/>
            </a:schemeClr>
          </a:solidFill>
        </p:spPr>
        <p:txBody>
          <a:bodyPr wrap="square" lIns="144000" tIns="144000" rIns="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a:t>Image Placeholder</a:t>
            </a:r>
          </a:p>
        </p:txBody>
      </p:sp>
      <p:sp>
        <p:nvSpPr>
          <p:cNvPr id="18" name="Textfeld 17">
            <a:extLst>
              <a:ext uri="{FF2B5EF4-FFF2-40B4-BE49-F238E27FC236}">
                <a16:creationId xmlns:a16="http://schemas.microsoft.com/office/drawing/2014/main" id="{5245B213-659E-4859-A2B2-B7462D944298}"/>
              </a:ext>
            </a:extLst>
          </p:cNvPr>
          <p:cNvSpPr txBox="1"/>
          <p:nvPr userDrawn="1"/>
        </p:nvSpPr>
        <p:spPr bwMode="gray">
          <a:xfrm>
            <a:off x="-2000449" y="4145884"/>
            <a:ext cx="1801058" cy="1477328"/>
          </a:xfrm>
          <a:prstGeom prst="rect">
            <a:avLst/>
          </a:prstGeom>
          <a:noFill/>
        </p:spPr>
        <p:txBody>
          <a:bodyPr wrap="square">
            <a:spAutoFit/>
          </a:bodyPr>
          <a:lstStyle/>
          <a:p>
            <a:pPr algn="r">
              <a:spcAft>
                <a:spcPts val="400"/>
              </a:spcAft>
            </a:pPr>
            <a:r>
              <a:rPr lang="en-US" sz="1000" b="0" i="0">
                <a:solidFill>
                  <a:schemeClr val="tx1"/>
                </a:solidFill>
                <a:effectLst/>
              </a:rPr>
              <a:t>You can use this layout </a:t>
            </a:r>
            <a:br>
              <a:rPr lang="en-US" sz="1000" b="0" i="0">
                <a:solidFill>
                  <a:schemeClr val="tx1"/>
                </a:solidFill>
                <a:effectLst/>
              </a:rPr>
            </a:br>
            <a:r>
              <a:rPr lang="en-US" sz="1000" b="0" i="0">
                <a:solidFill>
                  <a:schemeClr val="tx1"/>
                </a:solidFill>
                <a:effectLst/>
              </a:rPr>
              <a:t>to display your content </a:t>
            </a:r>
            <a:br>
              <a:rPr lang="en-US" sz="1000" b="0" i="0">
                <a:solidFill>
                  <a:schemeClr val="tx1"/>
                </a:solidFill>
                <a:effectLst/>
              </a:rPr>
            </a:br>
            <a:r>
              <a:rPr lang="en-US" sz="1000" b="0" i="0">
                <a:solidFill>
                  <a:schemeClr val="tx1"/>
                </a:solidFill>
                <a:effectLst/>
              </a:rPr>
              <a:t>in a striking way. The image area shown is an example of a possible suitable representation. </a:t>
            </a:r>
            <a:br>
              <a:rPr lang="en-US" sz="1000" b="0" i="0">
                <a:solidFill>
                  <a:schemeClr val="tx1"/>
                </a:solidFill>
                <a:effectLst/>
              </a:rPr>
            </a:br>
            <a:r>
              <a:rPr lang="en-US" sz="1000" b="0" i="0">
                <a:solidFill>
                  <a:schemeClr val="tx1"/>
                </a:solidFill>
                <a:effectLst/>
              </a:rPr>
              <a:t>The placement of the content is of course based on your individual content.</a:t>
            </a:r>
          </a:p>
        </p:txBody>
      </p:sp>
    </p:spTree>
    <p:extLst>
      <p:ext uri="{BB962C8B-B14F-4D97-AF65-F5344CB8AC3E}">
        <p14:creationId xmlns:p14="http://schemas.microsoft.com/office/powerpoint/2010/main" val="2250003218"/>
      </p:ext>
    </p:extLst>
  </p:cSld>
  <p:clrMapOvr>
    <a:masterClrMapping/>
  </p:clrMapOvr>
  <p:extLst>
    <p:ext uri="{DCECCB84-F9BA-43D5-87BE-67443E8EF086}">
      <p15:sldGuideLst xmlns:p15="http://schemas.microsoft.com/office/powerpoint/2012/main">
        <p15:guide id="1" pos="756" userDrawn="1">
          <p15:clr>
            <a:srgbClr val="5ACBF0"/>
          </p15:clr>
        </p15:guide>
        <p15:guide id="2" pos="3296" userDrawn="1">
          <p15:clr>
            <a:srgbClr val="5ACBF0"/>
          </p15:clr>
        </p15:guide>
        <p15:guide id="3" orient="horz" pos="890" userDrawn="1">
          <p15:clr>
            <a:srgbClr val="5ACBF0"/>
          </p15:clr>
        </p15:guide>
        <p15:guide id="4" orient="horz" pos="1661" userDrawn="1">
          <p15:clr>
            <a:srgbClr val="5ACBF0"/>
          </p15:clr>
        </p15:guide>
        <p15:guide id="5" orient="horz" pos="2205" userDrawn="1">
          <p15:clr>
            <a:srgbClr val="5ACBF0"/>
          </p15:clr>
        </p15:guide>
        <p15:guide id="6" pos="393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575756"/>
        </a:solidFill>
        <a:effectLst/>
      </p:bgPr>
    </p:bg>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p:txBody>
          <a:bodyPr/>
          <a:lstStyle>
            <a:lvl1pPr>
              <a:defRPr>
                <a:solidFill>
                  <a:schemeClr val="bg1"/>
                </a:solidFill>
              </a:defRPr>
            </a:lvl1pPr>
          </a:lstStyle>
          <a:p>
            <a:r>
              <a:rPr lang="en-GB"/>
              <a:t>Green Gantry</a:t>
            </a:r>
            <a:endParaRPr lang="en-GB" i="1"/>
          </a:p>
        </p:txBody>
      </p:sp>
      <p:sp>
        <p:nvSpPr>
          <p:cNvPr id="7" name="Foliennummernplatzhalter 6"/>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Nr.›</a:t>
            </a:fld>
            <a:endParaRPr lang="en-GB"/>
          </a:p>
        </p:txBody>
      </p:sp>
      <p:sp>
        <p:nvSpPr>
          <p:cNvPr id="3" name="Inhaltsplatzhalter 2"/>
          <p:cNvSpPr>
            <a:spLocks noGrp="1"/>
          </p:cNvSpPr>
          <p:nvPr>
            <p:ph sz="half" idx="1" hasCustomPrompt="1"/>
          </p:nvPr>
        </p:nvSpPr>
        <p:spPr bwMode="gray">
          <a:xfrm>
            <a:off x="4295849" y="1700212"/>
            <a:ext cx="5616575" cy="4105051"/>
          </a:xfrm>
        </p:spPr>
        <p:txBody>
          <a:bodyPr/>
          <a:lstStyle>
            <a:lvl1pPr>
              <a:spcAft>
                <a:spcPts val="1800"/>
              </a:spcAft>
              <a:defRPr sz="2000" b="1">
                <a:solidFill>
                  <a:schemeClr val="bg1"/>
                </a:solidFill>
              </a:defRPr>
            </a:lvl1pPr>
            <a:lvl2pPr algn="r">
              <a:spcBef>
                <a:spcPts val="0"/>
              </a:spcBef>
              <a:spcAft>
                <a:spcPts val="0"/>
              </a:spcAft>
              <a:defRPr b="0">
                <a:solidFill>
                  <a:schemeClr val="bg1"/>
                </a:solidFill>
              </a:defRPr>
            </a:lvl2pPr>
            <a:lvl3pPr marL="0" indent="0" algn="r">
              <a:spcBef>
                <a:spcPts val="0"/>
              </a:spcBef>
              <a:spcAft>
                <a:spcPts val="0"/>
              </a:spcAft>
              <a:buNone/>
              <a:defRPr i="1">
                <a:solidFill>
                  <a:schemeClr val="bg1"/>
                </a:solidFill>
              </a:defRPr>
            </a:lvl3pPr>
            <a:lvl4pPr marL="0" indent="0" algn="r">
              <a:spcBef>
                <a:spcPts val="0"/>
              </a:spcBef>
              <a:spcAft>
                <a:spcPts val="0"/>
              </a:spcAft>
              <a:buNone/>
              <a:defRPr i="1">
                <a:solidFill>
                  <a:schemeClr val="bg1"/>
                </a:solidFill>
              </a:defRPr>
            </a:lvl4pPr>
            <a:lvl5pPr marL="0" indent="0" algn="r">
              <a:spcBef>
                <a:spcPts val="0"/>
              </a:spcBef>
              <a:spcAft>
                <a:spcPts val="0"/>
              </a:spcAft>
              <a:buNone/>
              <a:defRPr i="1">
                <a:solidFill>
                  <a:schemeClr val="bg1"/>
                </a:solidFill>
              </a:defRPr>
            </a:lvl5pPr>
            <a:lvl6pPr marL="0" indent="0" algn="r">
              <a:spcBef>
                <a:spcPts val="0"/>
              </a:spcBef>
              <a:spcAft>
                <a:spcPts val="0"/>
              </a:spcAft>
              <a:buNone/>
              <a:defRPr i="1">
                <a:solidFill>
                  <a:schemeClr val="bg1"/>
                </a:solidFill>
              </a:defRPr>
            </a:lvl6pPr>
            <a:lvl7pPr marL="0" indent="0" algn="r">
              <a:spcBef>
                <a:spcPts val="0"/>
              </a:spcBef>
              <a:spcAft>
                <a:spcPts val="0"/>
              </a:spcAft>
              <a:buNone/>
              <a:defRPr i="1">
                <a:solidFill>
                  <a:schemeClr val="bg1"/>
                </a:solidFill>
              </a:defRPr>
            </a:lvl7pPr>
            <a:lvl8pPr marL="0" indent="0" algn="r">
              <a:spcBef>
                <a:spcPts val="0"/>
              </a:spcBef>
              <a:spcAft>
                <a:spcPts val="0"/>
              </a:spcAft>
              <a:buNone/>
              <a:defRPr i="1">
                <a:solidFill>
                  <a:schemeClr val="bg1"/>
                </a:solidFill>
              </a:defRPr>
            </a:lvl8pPr>
            <a:lvl9pPr marL="0" indent="0" algn="r">
              <a:spcBef>
                <a:spcPts val="0"/>
              </a:spcBef>
              <a:spcAft>
                <a:spcPts val="0"/>
              </a:spcAft>
              <a:buNone/>
              <a:defRPr i="1">
                <a:solidFill>
                  <a:schemeClr val="bg1"/>
                </a:solidFill>
              </a:defRPr>
            </a:lvl9pPr>
          </a:lstStyle>
          <a:p>
            <a:pPr marL="0" marR="0" lvl="0" indent="0" algn="l" defTabSz="914400" rtl="0" eaLnBrk="1" fontAlgn="auto" latinLnBrk="0" hangingPunct="1">
              <a:lnSpc>
                <a:spcPct val="110000"/>
              </a:lnSpc>
              <a:spcBef>
                <a:spcPts val="600"/>
              </a:spcBef>
              <a:spcAft>
                <a:spcPts val="1800"/>
              </a:spcAft>
              <a:buClrTx/>
              <a:buSzTx/>
              <a:buFont typeface="Arial" panose="020B0604020202020204" pitchFamily="34" charset="0"/>
              <a:buNone/>
              <a:tabLst/>
              <a:defRPr/>
            </a:pPr>
            <a:r>
              <a:rPr lang="en-GB"/>
              <a:t>„Quotation: Click to edit text. Use the buttons “Increase List Level” and “Decrease List Level” for copytext or bullet levels.“</a:t>
            </a:r>
          </a:p>
          <a:p>
            <a:pPr lvl="1"/>
            <a:r>
              <a:rPr lang="en-GB"/>
              <a:t>John Doe</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a:p>
            <a:pPr lvl="8"/>
            <a:endParaRPr lang="en-GB"/>
          </a:p>
        </p:txBody>
      </p:sp>
      <p:sp>
        <p:nvSpPr>
          <p:cNvPr id="22" name="Freihandform: Form 21">
            <a:extLst>
              <a:ext uri="{FF2B5EF4-FFF2-40B4-BE49-F238E27FC236}">
                <a16:creationId xmlns:a16="http://schemas.microsoft.com/office/drawing/2014/main" id="{33DC4ADC-E6B4-4FF1-9EB1-3B9D57B69282}"/>
              </a:ext>
            </a:extLst>
          </p:cNvPr>
          <p:cNvSpPr/>
          <p:nvPr userDrawn="1"/>
        </p:nvSpPr>
        <p:spPr bwMode="gray">
          <a:xfrm>
            <a:off x="1" y="1412875"/>
            <a:ext cx="1175515" cy="1193994"/>
          </a:xfrm>
          <a:custGeom>
            <a:avLst/>
            <a:gdLst>
              <a:gd name="connsiteX0" fmla="*/ 208954 w 1175515"/>
              <a:gd name="connsiteY0" fmla="*/ 0 h 1193994"/>
              <a:gd name="connsiteX1" fmla="*/ 1070018 w 1175515"/>
              <a:gd name="connsiteY1" fmla="*/ 431663 h 1193994"/>
              <a:gd name="connsiteX2" fmla="*/ 1175485 w 1175515"/>
              <a:gd name="connsiteY2" fmla="*/ 571784 h 1193994"/>
              <a:gd name="connsiteX3" fmla="*/ 1002217 w 1175515"/>
              <a:gd name="connsiteY3" fmla="*/ 756351 h 1193994"/>
              <a:gd name="connsiteX4" fmla="*/ 0 w 1175515"/>
              <a:gd name="connsiteY4" fmla="*/ 1193994 h 1193994"/>
              <a:gd name="connsiteX5" fmla="*/ 0 w 1175515"/>
              <a:gd name="connsiteY5" fmla="*/ 894907 h 1193994"/>
              <a:gd name="connsiteX6" fmla="*/ 713690 w 1175515"/>
              <a:gd name="connsiteY6" fmla="*/ 591370 h 1193994"/>
              <a:gd name="connsiteX7" fmla="*/ 83146 w 1175515"/>
              <a:gd name="connsiteY7" fmla="*/ 296815 h 119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515" h="1193994">
                <a:moveTo>
                  <a:pt x="208954" y="0"/>
                </a:moveTo>
                <a:lnTo>
                  <a:pt x="1070018" y="431663"/>
                </a:lnTo>
                <a:cubicBezTo>
                  <a:pt x="1163432" y="479123"/>
                  <a:pt x="1176239" y="539390"/>
                  <a:pt x="1175485" y="571784"/>
                </a:cubicBezTo>
                <a:cubicBezTo>
                  <a:pt x="1173978" y="641844"/>
                  <a:pt x="1110698" y="708891"/>
                  <a:pt x="1002217" y="756351"/>
                </a:cubicBezTo>
                <a:lnTo>
                  <a:pt x="0" y="1193994"/>
                </a:lnTo>
                <a:lnTo>
                  <a:pt x="0" y="894907"/>
                </a:lnTo>
                <a:lnTo>
                  <a:pt x="713690" y="591370"/>
                </a:lnTo>
                <a:lnTo>
                  <a:pt x="83146" y="296815"/>
                </a:lnTo>
                <a:close/>
              </a:path>
            </a:pathLst>
          </a:custGeom>
          <a:solidFill>
            <a:srgbClr val="FFCC03"/>
          </a:solidFill>
          <a:ln w="9525" cap="flat">
            <a:noFill/>
            <a:prstDash val="solid"/>
            <a:miter/>
          </a:ln>
        </p:spPr>
        <p:txBody>
          <a:bodyPr wrap="square" rtlCol="0" anchor="ctr">
            <a:noAutofit/>
          </a:bodyPr>
          <a:lstStyle/>
          <a:p>
            <a:endParaRPr lang="en-GB"/>
          </a:p>
        </p:txBody>
      </p:sp>
      <p:sp>
        <p:nvSpPr>
          <p:cNvPr id="17" name="Freihandform: Form 16">
            <a:extLst>
              <a:ext uri="{FF2B5EF4-FFF2-40B4-BE49-F238E27FC236}">
                <a16:creationId xmlns:a16="http://schemas.microsoft.com/office/drawing/2014/main" id="{DFC56ECF-CE04-49D6-899F-943541818BD5}"/>
              </a:ext>
            </a:extLst>
          </p:cNvPr>
          <p:cNvSpPr/>
          <p:nvPr userDrawn="1"/>
        </p:nvSpPr>
        <p:spPr bwMode="gray">
          <a:xfrm>
            <a:off x="907297" y="1412875"/>
            <a:ext cx="1540605" cy="1354501"/>
          </a:xfrm>
          <a:custGeom>
            <a:avLst/>
            <a:gdLst>
              <a:gd name="connsiteX0" fmla="*/ 1947863 w 1947900"/>
              <a:gd name="connsiteY0" fmla="*/ 722948 h 1712595"/>
              <a:gd name="connsiteX1" fmla="*/ 1814513 w 1947900"/>
              <a:gd name="connsiteY1" fmla="*/ 545783 h 1712595"/>
              <a:gd name="connsiteX2" fmla="*/ 725805 w 1947900"/>
              <a:gd name="connsiteY2" fmla="*/ 0 h 1712595"/>
              <a:gd name="connsiteX3" fmla="*/ 566738 w 1947900"/>
              <a:gd name="connsiteY3" fmla="*/ 375285 h 1712595"/>
              <a:gd name="connsiteX4" fmla="*/ 1363980 w 1947900"/>
              <a:gd name="connsiteY4" fmla="*/ 747713 h 1712595"/>
              <a:gd name="connsiteX5" fmla="*/ 198120 w 1947900"/>
              <a:gd name="connsiteY5" fmla="*/ 1244918 h 1712595"/>
              <a:gd name="connsiteX6" fmla="*/ 0 w 1947900"/>
              <a:gd name="connsiteY6" fmla="*/ 1712595 h 1712595"/>
              <a:gd name="connsiteX7" fmla="*/ 1728788 w 1947900"/>
              <a:gd name="connsiteY7" fmla="*/ 957263 h 1712595"/>
              <a:gd name="connsiteX8" fmla="*/ 1947863 w 1947900"/>
              <a:gd name="connsiteY8" fmla="*/ 722948 h 171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7900" h="1712595">
                <a:moveTo>
                  <a:pt x="1947863" y="722948"/>
                </a:moveTo>
                <a:cubicBezTo>
                  <a:pt x="1948815" y="681990"/>
                  <a:pt x="1932623" y="605790"/>
                  <a:pt x="1814513" y="545783"/>
                </a:cubicBezTo>
                <a:lnTo>
                  <a:pt x="725805" y="0"/>
                </a:lnTo>
                <a:lnTo>
                  <a:pt x="566738" y="375285"/>
                </a:lnTo>
                <a:lnTo>
                  <a:pt x="1363980" y="747713"/>
                </a:lnTo>
                <a:lnTo>
                  <a:pt x="198120" y="1244918"/>
                </a:lnTo>
                <a:lnTo>
                  <a:pt x="0" y="1712595"/>
                </a:lnTo>
                <a:lnTo>
                  <a:pt x="1728788" y="957263"/>
                </a:lnTo>
                <a:cubicBezTo>
                  <a:pt x="1865948" y="896303"/>
                  <a:pt x="1945957" y="811530"/>
                  <a:pt x="1947863" y="722948"/>
                </a:cubicBezTo>
              </a:path>
            </a:pathLst>
          </a:custGeom>
          <a:solidFill>
            <a:srgbClr val="FFCC03"/>
          </a:solidFill>
          <a:ln w="9525" cap="flat">
            <a:noFill/>
            <a:prstDash val="solid"/>
            <a:miter/>
          </a:ln>
        </p:spPr>
        <p:txBody>
          <a:bodyPr rtlCol="0" anchor="ctr"/>
          <a:lstStyle/>
          <a:p>
            <a:endParaRPr lang="en-GB"/>
          </a:p>
        </p:txBody>
      </p:sp>
      <p:sp>
        <p:nvSpPr>
          <p:cNvPr id="19" name="Freihandform: Form 18">
            <a:extLst>
              <a:ext uri="{FF2B5EF4-FFF2-40B4-BE49-F238E27FC236}">
                <a16:creationId xmlns:a16="http://schemas.microsoft.com/office/drawing/2014/main" id="{2AB7F281-0BE2-4314-8517-5E07DB1FA2A3}"/>
              </a:ext>
            </a:extLst>
          </p:cNvPr>
          <p:cNvSpPr/>
          <p:nvPr userDrawn="1"/>
        </p:nvSpPr>
        <p:spPr bwMode="black">
          <a:xfrm>
            <a:off x="2178930" y="1412875"/>
            <a:ext cx="1540806" cy="1354501"/>
          </a:xfrm>
          <a:custGeom>
            <a:avLst/>
            <a:gdLst>
              <a:gd name="connsiteX0" fmla="*/ 1816418 w 1948155"/>
              <a:gd name="connsiteY0" fmla="*/ 546735 h 1712595"/>
              <a:gd name="connsiteX1" fmla="*/ 726758 w 1948155"/>
              <a:gd name="connsiteY1" fmla="*/ 0 h 1712595"/>
              <a:gd name="connsiteX2" fmla="*/ 567690 w 1948155"/>
              <a:gd name="connsiteY2" fmla="*/ 375285 h 1712595"/>
              <a:gd name="connsiteX3" fmla="*/ 1363980 w 1948155"/>
              <a:gd name="connsiteY3" fmla="*/ 747713 h 1712595"/>
              <a:gd name="connsiteX4" fmla="*/ 198120 w 1948155"/>
              <a:gd name="connsiteY4" fmla="*/ 1244918 h 1712595"/>
              <a:gd name="connsiteX5" fmla="*/ 0 w 1948155"/>
              <a:gd name="connsiteY5" fmla="*/ 1712595 h 1712595"/>
              <a:gd name="connsiteX6" fmla="*/ 1728788 w 1948155"/>
              <a:gd name="connsiteY6" fmla="*/ 957263 h 1712595"/>
              <a:gd name="connsiteX7" fmla="*/ 1947863 w 1948155"/>
              <a:gd name="connsiteY7" fmla="*/ 723900 h 1712595"/>
              <a:gd name="connsiteX8" fmla="*/ 1816418 w 1948155"/>
              <a:gd name="connsiteY8" fmla="*/ 546735 h 171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8155" h="1712595">
                <a:moveTo>
                  <a:pt x="1816418" y="546735"/>
                </a:moveTo>
                <a:lnTo>
                  <a:pt x="726758" y="0"/>
                </a:lnTo>
                <a:lnTo>
                  <a:pt x="567690" y="375285"/>
                </a:lnTo>
                <a:lnTo>
                  <a:pt x="1363980" y="747713"/>
                </a:lnTo>
                <a:lnTo>
                  <a:pt x="198120" y="1244918"/>
                </a:lnTo>
                <a:lnTo>
                  <a:pt x="0" y="1712595"/>
                </a:lnTo>
                <a:lnTo>
                  <a:pt x="1728788" y="957263"/>
                </a:lnTo>
                <a:cubicBezTo>
                  <a:pt x="1865948" y="897255"/>
                  <a:pt x="1945957" y="812483"/>
                  <a:pt x="1947863" y="723900"/>
                </a:cubicBezTo>
                <a:cubicBezTo>
                  <a:pt x="1950720" y="682943"/>
                  <a:pt x="1934528" y="605790"/>
                  <a:pt x="1816418" y="546735"/>
                </a:cubicBezTo>
              </a:path>
            </a:pathLst>
          </a:custGeom>
          <a:solidFill>
            <a:srgbClr val="FFFFFF"/>
          </a:solidFill>
          <a:ln w="9525" cap="flat">
            <a:noFill/>
            <a:prstDash val="solid"/>
            <a:miter/>
          </a:ln>
        </p:spPr>
        <p:txBody>
          <a:bodyPr rtlCol="0" anchor="ctr"/>
          <a:lstStyle/>
          <a:p>
            <a:endParaRPr lang="en-GB"/>
          </a:p>
        </p:txBody>
      </p:sp>
      <p:cxnSp>
        <p:nvCxnSpPr>
          <p:cNvPr id="15" name="Gerader Verbinder 14">
            <a:extLst>
              <a:ext uri="{FF2B5EF4-FFF2-40B4-BE49-F238E27FC236}">
                <a16:creationId xmlns:a16="http://schemas.microsoft.com/office/drawing/2014/main" id="{1738026D-4E4C-4064-A1CF-BC05C9636A44}"/>
              </a:ext>
            </a:extLst>
          </p:cNvPr>
          <p:cNvCxnSpPr>
            <a:cxnSpLocks/>
          </p:cNvCxnSpPr>
          <p:nvPr userDrawn="1"/>
        </p:nvCxnSpPr>
        <p:spPr bwMode="gray">
          <a:xfrm>
            <a:off x="11136560" y="0"/>
            <a:ext cx="0" cy="462913"/>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50D6FEE-1E21-48F2-BAE2-39FF1047F211}"/>
              </a:ext>
            </a:extLst>
          </p:cNvPr>
          <p:cNvCxnSpPr>
            <a:cxnSpLocks/>
          </p:cNvCxnSpPr>
          <p:nvPr userDrawn="1"/>
        </p:nvCxnSpPr>
        <p:spPr bwMode="gray">
          <a:xfrm>
            <a:off x="10705032" y="304974"/>
            <a:ext cx="0" cy="157939"/>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platzhalter 45">
            <a:extLst>
              <a:ext uri="{FF2B5EF4-FFF2-40B4-BE49-F238E27FC236}">
                <a16:creationId xmlns:a16="http://schemas.microsoft.com/office/drawing/2014/main" id="{8820A8D4-6D2E-4EEB-8629-2BA005F14090}"/>
              </a:ext>
            </a:extLst>
          </p:cNvPr>
          <p:cNvSpPr txBox="1">
            <a:spLocks/>
          </p:cNvSpPr>
          <p:nvPr userDrawn="1"/>
        </p:nvSpPr>
        <p:spPr bwMode="gray">
          <a:xfrm>
            <a:off x="11208568" y="311701"/>
            <a:ext cx="720080" cy="12013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grpSp>
        <p:nvGrpSpPr>
          <p:cNvPr id="11" name="Gruppieren 10">
            <a:extLst>
              <a:ext uri="{FF2B5EF4-FFF2-40B4-BE49-F238E27FC236}">
                <a16:creationId xmlns:a16="http://schemas.microsoft.com/office/drawing/2014/main" id="{E84F9744-1EF6-40B8-88F4-3DDC1DAE5F79}"/>
              </a:ext>
            </a:extLst>
          </p:cNvPr>
          <p:cNvGrpSpPr/>
          <p:nvPr userDrawn="1"/>
        </p:nvGrpSpPr>
        <p:grpSpPr bwMode="gray">
          <a:xfrm>
            <a:off x="335360" y="-171400"/>
            <a:ext cx="11521184" cy="72000"/>
            <a:chOff x="335360" y="-243408"/>
            <a:chExt cx="11521184" cy="72000"/>
          </a:xfrm>
        </p:grpSpPr>
        <p:sp>
          <p:nvSpPr>
            <p:cNvPr id="12" name="Rechteck 11">
              <a:extLst>
                <a:ext uri="{FF2B5EF4-FFF2-40B4-BE49-F238E27FC236}">
                  <a16:creationId xmlns:a16="http://schemas.microsoft.com/office/drawing/2014/main" id="{783052FC-6BED-42CA-B8AC-B7977564CC38}"/>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3" name="Rechteck 12">
              <a:extLst>
                <a:ext uri="{FF2B5EF4-FFF2-40B4-BE49-F238E27FC236}">
                  <a16:creationId xmlns:a16="http://schemas.microsoft.com/office/drawing/2014/main" id="{94D69008-B8D9-4FE7-87A5-17CFFF7E51BB}"/>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4" name="Rechteck 13">
              <a:extLst>
                <a:ext uri="{FF2B5EF4-FFF2-40B4-BE49-F238E27FC236}">
                  <a16:creationId xmlns:a16="http://schemas.microsoft.com/office/drawing/2014/main" id="{DDA5FFCB-9AF9-46A1-9DA8-DA86DD0F947A}"/>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8" name="Rechteck 17">
              <a:extLst>
                <a:ext uri="{FF2B5EF4-FFF2-40B4-BE49-F238E27FC236}">
                  <a16:creationId xmlns:a16="http://schemas.microsoft.com/office/drawing/2014/main" id="{7D9E7063-C0BE-476A-8950-C09760D1901E}"/>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0" name="Rechteck 19">
              <a:extLst>
                <a:ext uri="{FF2B5EF4-FFF2-40B4-BE49-F238E27FC236}">
                  <a16:creationId xmlns:a16="http://schemas.microsoft.com/office/drawing/2014/main" id="{E45A848A-22DF-4260-AC38-7A329CDB4F88}"/>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1" name="Rechteck 20">
              <a:extLst>
                <a:ext uri="{FF2B5EF4-FFF2-40B4-BE49-F238E27FC236}">
                  <a16:creationId xmlns:a16="http://schemas.microsoft.com/office/drawing/2014/main" id="{BB2A27E6-48D4-4F6F-BB0C-4AC8846831F5}"/>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3" name="Rechteck 22">
              <a:extLst>
                <a:ext uri="{FF2B5EF4-FFF2-40B4-BE49-F238E27FC236}">
                  <a16:creationId xmlns:a16="http://schemas.microsoft.com/office/drawing/2014/main" id="{FCC85CDF-ED78-47F8-9E83-C8043BBC767E}"/>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4" name="Rechteck 23">
              <a:extLst>
                <a:ext uri="{FF2B5EF4-FFF2-40B4-BE49-F238E27FC236}">
                  <a16:creationId xmlns:a16="http://schemas.microsoft.com/office/drawing/2014/main" id="{AD6B69AA-01DF-4CA2-AD57-60CD8F99C5B4}"/>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Rechteck 24">
              <a:extLst>
                <a:ext uri="{FF2B5EF4-FFF2-40B4-BE49-F238E27FC236}">
                  <a16:creationId xmlns:a16="http://schemas.microsoft.com/office/drawing/2014/main" id="{A4FEE322-B2BE-4550-AFEA-D5FF6E0F9443}"/>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6" name="Rechteck 25">
              <a:extLst>
                <a:ext uri="{FF2B5EF4-FFF2-40B4-BE49-F238E27FC236}">
                  <a16:creationId xmlns:a16="http://schemas.microsoft.com/office/drawing/2014/main" id="{0321A77B-6FB3-4892-82FF-B43565AF078D}"/>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7" name="Rechteck 26">
              <a:extLst>
                <a:ext uri="{FF2B5EF4-FFF2-40B4-BE49-F238E27FC236}">
                  <a16:creationId xmlns:a16="http://schemas.microsoft.com/office/drawing/2014/main" id="{8094B26A-0046-42C4-A735-03F93CD47228}"/>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8" name="Rechteck 27">
              <a:extLst>
                <a:ext uri="{FF2B5EF4-FFF2-40B4-BE49-F238E27FC236}">
                  <a16:creationId xmlns:a16="http://schemas.microsoft.com/office/drawing/2014/main" id="{ACEEE3DF-C4C5-4EAE-9777-5FD7E2863F6A}"/>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29" name="Gruppieren 28">
            <a:extLst>
              <a:ext uri="{FF2B5EF4-FFF2-40B4-BE49-F238E27FC236}">
                <a16:creationId xmlns:a16="http://schemas.microsoft.com/office/drawing/2014/main" id="{451AB5F7-986C-4DB0-8E3E-25436E98EA84}"/>
              </a:ext>
            </a:extLst>
          </p:cNvPr>
          <p:cNvGrpSpPr/>
          <p:nvPr userDrawn="1"/>
        </p:nvGrpSpPr>
        <p:grpSpPr bwMode="gray">
          <a:xfrm>
            <a:off x="335360" y="-171400"/>
            <a:ext cx="11521280" cy="72000"/>
            <a:chOff x="335360" y="-243408"/>
            <a:chExt cx="11521280" cy="216000"/>
          </a:xfrm>
        </p:grpSpPr>
        <p:cxnSp>
          <p:nvCxnSpPr>
            <p:cNvPr id="30" name="Gerader Verbinder 29">
              <a:extLst>
                <a:ext uri="{FF2B5EF4-FFF2-40B4-BE49-F238E27FC236}">
                  <a16:creationId xmlns:a16="http://schemas.microsoft.com/office/drawing/2014/main" id="{F60A2E0C-BB52-4172-B440-6ACE3421BF66}"/>
                </a:ext>
              </a:extLst>
            </p:cNvPr>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F43D3F3-59EC-4CEB-9F07-488F88BD0021}"/>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C735DEE3-483C-4A79-8E98-E845278075A5}"/>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44E267EB-6897-45B5-9F8A-49047643F52C}"/>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7FD0494E-7866-4678-BEF7-7CD271208597}"/>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3EFBFCA5-05B8-4F01-B6DD-9F6409B0434F}"/>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6A55CB6-7C53-4627-920F-709BFA69DD33}"/>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094DBD6-1DBB-4A09-BB9A-B4B1B6DDFF63}"/>
                </a:ext>
              </a:extLst>
            </p:cNvPr>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1091139"/>
      </p:ext>
    </p:extLst>
  </p:cSld>
  <p:clrMapOvr>
    <a:masterClrMapping/>
  </p:clrMapOvr>
  <p:extLst>
    <p:ext uri="{DCECCB84-F9BA-43D5-87BE-67443E8EF086}">
      <p15:sldGuideLst xmlns:p15="http://schemas.microsoft.com/office/powerpoint/2012/main">
        <p15:guide id="1" pos="6244" userDrawn="1">
          <p15:clr>
            <a:srgbClr val="5ACBF0"/>
          </p15:clr>
        </p15:guide>
        <p15:guide id="2" pos="2706" userDrawn="1">
          <p15:clr>
            <a:srgbClr val="5ACBF0"/>
          </p15:clr>
        </p15:guide>
        <p15:guide id="3" orient="horz" pos="1071"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 Contact">
    <p:bg>
      <p:bgPr>
        <a:solidFill>
          <a:srgbClr val="575756"/>
        </a:solidFill>
        <a:effectLst/>
      </p:bgPr>
    </p:bg>
    <p:spTree>
      <p:nvGrpSpPr>
        <p:cNvPr id="1" name=""/>
        <p:cNvGrpSpPr/>
        <p:nvPr/>
      </p:nvGrpSpPr>
      <p:grpSpPr>
        <a:xfrm>
          <a:off x="0" y="0"/>
          <a:ext cx="0" cy="0"/>
          <a:chOff x="0" y="0"/>
          <a:chExt cx="0" cy="0"/>
        </a:xfrm>
      </p:grpSpPr>
      <p:sp>
        <p:nvSpPr>
          <p:cNvPr id="33" name="Bildplatzhalter 32">
            <a:extLst>
              <a:ext uri="{FF2B5EF4-FFF2-40B4-BE49-F238E27FC236}">
                <a16:creationId xmlns:a16="http://schemas.microsoft.com/office/drawing/2014/main" id="{74303EAF-41BF-40EE-B74C-E732C47FFAB8}"/>
              </a:ext>
            </a:extLst>
          </p:cNvPr>
          <p:cNvSpPr>
            <a:spLocks noGrp="1"/>
          </p:cNvSpPr>
          <p:nvPr>
            <p:ph type="pic" sz="quarter" idx="11" hasCustomPrompt="1"/>
          </p:nvPr>
        </p:nvSpPr>
        <p:spPr bwMode="gray">
          <a:xfrm>
            <a:off x="1670042" y="0"/>
            <a:ext cx="5251466" cy="6858000"/>
          </a:xfrm>
          <a:custGeom>
            <a:avLst/>
            <a:gdLst>
              <a:gd name="connsiteX0" fmla="*/ 132229 w 5259358"/>
              <a:gd name="connsiteY0" fmla="*/ 0 h 6868306"/>
              <a:gd name="connsiteX1" fmla="*/ 5259358 w 5259358"/>
              <a:gd name="connsiteY1" fmla="*/ 0 h 6868306"/>
              <a:gd name="connsiteX2" fmla="*/ 5259358 w 5259358"/>
              <a:gd name="connsiteY2" fmla="*/ 2 h 6868306"/>
              <a:gd name="connsiteX3" fmla="*/ 724142 w 5259358"/>
              <a:gd name="connsiteY3" fmla="*/ 6868306 h 6868306"/>
              <a:gd name="connsiteX4" fmla="*/ 0 w 5259358"/>
              <a:gd name="connsiteY4" fmla="*/ 6868306 h 6868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9358" h="6868306">
                <a:moveTo>
                  <a:pt x="132229" y="0"/>
                </a:moveTo>
                <a:lnTo>
                  <a:pt x="5259358" y="0"/>
                </a:lnTo>
                <a:lnTo>
                  <a:pt x="5259358" y="2"/>
                </a:lnTo>
                <a:lnTo>
                  <a:pt x="724142" y="6868306"/>
                </a:lnTo>
                <a:lnTo>
                  <a:pt x="0" y="6868306"/>
                </a:lnTo>
                <a:close/>
              </a:path>
            </a:pathLst>
          </a:custGeom>
          <a:solidFill>
            <a:schemeClr val="bg1">
              <a:lumMod val="85000"/>
            </a:schemeClr>
          </a:solidFill>
        </p:spPr>
        <p:txBody>
          <a:bodyPr wrap="square" lIns="252000" tIns="10800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pPr lvl="0"/>
            <a:r>
              <a:rPr lang="en-GB"/>
              <a:t>To add a picture, please click on the yellow Polygon</a:t>
            </a:r>
            <a:br>
              <a:rPr lang="en-GB"/>
            </a:br>
            <a:r>
              <a:rPr lang="en-GB"/>
              <a:t>picture frame and bring it, with right click, into background. </a:t>
            </a:r>
            <a:br>
              <a:rPr lang="en-GB"/>
            </a:br>
            <a:br>
              <a:rPr lang="en-GB"/>
            </a:br>
            <a:r>
              <a:rPr lang="en-GB"/>
              <a:t>You can now insert a picture by clicking on the </a:t>
            </a:r>
            <a:br>
              <a:rPr lang="en-GB"/>
            </a:br>
            <a:r>
              <a:rPr lang="en-GB"/>
              <a:t>placeholder image icon. Then click the Reset </a:t>
            </a:r>
            <a:br>
              <a:rPr lang="en-GB"/>
            </a:br>
            <a:r>
              <a:rPr lang="en-GB"/>
              <a:t>button on the Home menu tab to send the picture </a:t>
            </a:r>
            <a:br>
              <a:rPr lang="en-GB"/>
            </a:br>
            <a:r>
              <a:rPr lang="en-GB"/>
              <a:t>to background.</a:t>
            </a:r>
          </a:p>
        </p:txBody>
      </p:sp>
      <p:sp>
        <p:nvSpPr>
          <p:cNvPr id="44" name="Textplatzhalter 45">
            <a:extLst>
              <a:ext uri="{FF2B5EF4-FFF2-40B4-BE49-F238E27FC236}">
                <a16:creationId xmlns:a16="http://schemas.microsoft.com/office/drawing/2014/main" id="{33427A88-45E5-4B8A-AD8F-ECA7A1F92658}"/>
              </a:ext>
            </a:extLst>
          </p:cNvPr>
          <p:cNvSpPr>
            <a:spLocks noGrp="1"/>
          </p:cNvSpPr>
          <p:nvPr>
            <p:ph type="body" sz="quarter" idx="17" hasCustomPrompt="1"/>
          </p:nvPr>
        </p:nvSpPr>
        <p:spPr bwMode="gray">
          <a:xfrm>
            <a:off x="-1" y="532172"/>
            <a:ext cx="2228400" cy="6328800"/>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45" name="Textplatzhalter 45">
            <a:extLst>
              <a:ext uri="{FF2B5EF4-FFF2-40B4-BE49-F238E27FC236}">
                <a16:creationId xmlns:a16="http://schemas.microsoft.com/office/drawing/2014/main" id="{A86075EF-4C4F-4CB5-9562-84ACF40954D9}"/>
              </a:ext>
            </a:extLst>
          </p:cNvPr>
          <p:cNvSpPr>
            <a:spLocks noGrp="1"/>
          </p:cNvSpPr>
          <p:nvPr>
            <p:ph type="body" sz="quarter" idx="16" hasCustomPrompt="1"/>
          </p:nvPr>
        </p:nvSpPr>
        <p:spPr bwMode="gray">
          <a:xfrm>
            <a:off x="3086714" y="-2852"/>
            <a:ext cx="4842000" cy="5828400"/>
          </a:xfr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10" name="Fußzeilenplatzhalter 5">
            <a:extLst>
              <a:ext uri="{FF2B5EF4-FFF2-40B4-BE49-F238E27FC236}">
                <a16:creationId xmlns:a16="http://schemas.microsoft.com/office/drawing/2014/main" id="{F7218F70-35A5-497B-8CB9-6E115C7ED25B}"/>
              </a:ext>
            </a:extLst>
          </p:cNvPr>
          <p:cNvSpPr>
            <a:spLocks noGrp="1"/>
          </p:cNvSpPr>
          <p:nvPr>
            <p:ph type="ftr" sz="quarter" idx="15"/>
          </p:nvPr>
        </p:nvSpPr>
        <p:spPr bwMode="gray">
          <a:xfrm>
            <a:off x="8831966" y="304475"/>
            <a:ext cx="1801058" cy="144000"/>
          </a:xfrm>
        </p:spPr>
        <p:txBody>
          <a:bodyPr/>
          <a:lstStyle>
            <a:lvl1pPr>
              <a:defRPr>
                <a:solidFill>
                  <a:schemeClr val="bg1"/>
                </a:solidFill>
              </a:defRPr>
            </a:lvl1pPr>
          </a:lstStyle>
          <a:p>
            <a:r>
              <a:rPr lang="en-GB"/>
              <a:t>Green Gantry</a:t>
            </a:r>
            <a:endParaRPr lang="en-GB" i="1"/>
          </a:p>
        </p:txBody>
      </p:sp>
      <p:sp>
        <p:nvSpPr>
          <p:cNvPr id="11" name="Foliennummernplatzhalter 6">
            <a:extLst>
              <a:ext uri="{FF2B5EF4-FFF2-40B4-BE49-F238E27FC236}">
                <a16:creationId xmlns:a16="http://schemas.microsoft.com/office/drawing/2014/main" id="{6FF5CEDA-D24D-4F2C-8529-F9178E166606}"/>
              </a:ext>
            </a:extLst>
          </p:cNvPr>
          <p:cNvSpPr>
            <a:spLocks noGrp="1"/>
          </p:cNvSpPr>
          <p:nvPr>
            <p:ph type="sldNum" sz="quarter" idx="12"/>
          </p:nvPr>
        </p:nvSpPr>
        <p:spPr bwMode="gray">
          <a:xfrm>
            <a:off x="10777040" y="304475"/>
            <a:ext cx="287512" cy="144000"/>
          </a:xfrm>
        </p:spPr>
        <p:txBody>
          <a:bodyPr/>
          <a:lstStyle>
            <a:lvl1pPr>
              <a:defRPr>
                <a:solidFill>
                  <a:schemeClr val="bg1"/>
                </a:solidFill>
              </a:defRPr>
            </a:lvl1pPr>
          </a:lstStyle>
          <a:p>
            <a:fld id="{8FF9B0DE-3FEB-4AA0-B465-B80EF7C1333D}" type="slidenum">
              <a:rPr lang="en-GB" smtClean="0"/>
              <a:pPr/>
              <a:t>‹Nr.›</a:t>
            </a:fld>
            <a:endParaRPr lang="en-GB"/>
          </a:p>
        </p:txBody>
      </p:sp>
      <p:cxnSp>
        <p:nvCxnSpPr>
          <p:cNvPr id="19" name="Gerader Verbinder 18">
            <a:extLst>
              <a:ext uri="{FF2B5EF4-FFF2-40B4-BE49-F238E27FC236}">
                <a16:creationId xmlns:a16="http://schemas.microsoft.com/office/drawing/2014/main" id="{7C4B76C8-F1F3-4A4A-824F-BBC20F45B9B6}"/>
              </a:ext>
            </a:extLst>
          </p:cNvPr>
          <p:cNvCxnSpPr>
            <a:cxnSpLocks/>
          </p:cNvCxnSpPr>
          <p:nvPr userDrawn="1"/>
        </p:nvCxnSpPr>
        <p:spPr bwMode="gray">
          <a:xfrm>
            <a:off x="11136560" y="0"/>
            <a:ext cx="0" cy="462913"/>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3DADF4D-5EEB-4CAB-B6D6-7237724F8AF1}"/>
              </a:ext>
            </a:extLst>
          </p:cNvPr>
          <p:cNvCxnSpPr>
            <a:cxnSpLocks/>
          </p:cNvCxnSpPr>
          <p:nvPr userDrawn="1"/>
        </p:nvCxnSpPr>
        <p:spPr bwMode="gray">
          <a:xfrm>
            <a:off x="10705032" y="304974"/>
            <a:ext cx="0" cy="157939"/>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platzhalter 45">
            <a:extLst>
              <a:ext uri="{FF2B5EF4-FFF2-40B4-BE49-F238E27FC236}">
                <a16:creationId xmlns:a16="http://schemas.microsoft.com/office/drawing/2014/main" id="{F3F2FBC3-E311-44AA-9732-A26D819EEDBA}"/>
              </a:ext>
            </a:extLst>
          </p:cNvPr>
          <p:cNvSpPr txBox="1">
            <a:spLocks/>
          </p:cNvSpPr>
          <p:nvPr userDrawn="1"/>
        </p:nvSpPr>
        <p:spPr bwMode="gray">
          <a:xfrm>
            <a:off x="11208568" y="311701"/>
            <a:ext cx="720080" cy="12013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grpSp>
        <p:nvGrpSpPr>
          <p:cNvPr id="15" name="Gruppieren 14">
            <a:extLst>
              <a:ext uri="{FF2B5EF4-FFF2-40B4-BE49-F238E27FC236}">
                <a16:creationId xmlns:a16="http://schemas.microsoft.com/office/drawing/2014/main" id="{26093AFD-A1A2-4F8E-ABE3-DFC29677BD0C}"/>
              </a:ext>
            </a:extLst>
          </p:cNvPr>
          <p:cNvGrpSpPr/>
          <p:nvPr userDrawn="1"/>
        </p:nvGrpSpPr>
        <p:grpSpPr bwMode="gray">
          <a:xfrm>
            <a:off x="5951985" y="3460816"/>
            <a:ext cx="1007616" cy="334057"/>
            <a:chOff x="3509962" y="3789040"/>
            <a:chExt cx="1498067" cy="496657"/>
          </a:xfrm>
        </p:grpSpPr>
        <p:sp>
          <p:nvSpPr>
            <p:cNvPr id="7" name="Freihandform: Form 6">
              <a:extLst>
                <a:ext uri="{FF2B5EF4-FFF2-40B4-BE49-F238E27FC236}">
                  <a16:creationId xmlns:a16="http://schemas.microsoft.com/office/drawing/2014/main" id="{BEE4F089-9144-40EF-A49E-2C23BB2957D6}"/>
                </a:ext>
              </a:extLst>
            </p:cNvPr>
            <p:cNvSpPr/>
            <p:nvPr userDrawn="1"/>
          </p:nvSpPr>
          <p:spPr bwMode="gray">
            <a:xfrm>
              <a:off x="3509962" y="3789040"/>
              <a:ext cx="565173" cy="496381"/>
            </a:xfrm>
            <a:custGeom>
              <a:avLst/>
              <a:gdLst>
                <a:gd name="connsiteX0" fmla="*/ 565162 w 565173"/>
                <a:gd name="connsiteY0" fmla="*/ 209657 h 496381"/>
                <a:gd name="connsiteX1" fmla="*/ 526490 w 565173"/>
                <a:gd name="connsiteY1" fmla="*/ 158279 h 496381"/>
                <a:gd name="connsiteX2" fmla="*/ 210762 w 565173"/>
                <a:gd name="connsiteY2" fmla="*/ 0 h 496381"/>
                <a:gd name="connsiteX3" fmla="*/ 164632 w 565173"/>
                <a:gd name="connsiteY3" fmla="*/ 108834 h 496381"/>
                <a:gd name="connsiteX4" fmla="*/ 395834 w 565173"/>
                <a:gd name="connsiteY4" fmla="*/ 216839 h 496381"/>
                <a:gd name="connsiteX5" fmla="*/ 57455 w 565173"/>
                <a:gd name="connsiteY5" fmla="*/ 360754 h 496381"/>
                <a:gd name="connsiteX6" fmla="*/ 0 w 565173"/>
                <a:gd name="connsiteY6" fmla="*/ 496381 h 496381"/>
                <a:gd name="connsiteX7" fmla="*/ 501630 w 565173"/>
                <a:gd name="connsiteY7" fmla="*/ 277333 h 496381"/>
                <a:gd name="connsiteX8" fmla="*/ 565162 w 565173"/>
                <a:gd name="connsiteY8" fmla="*/ 209657 h 49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173" h="496381">
                  <a:moveTo>
                    <a:pt x="565162" y="209657"/>
                  </a:moveTo>
                  <a:cubicBezTo>
                    <a:pt x="565438" y="197779"/>
                    <a:pt x="560742" y="175681"/>
                    <a:pt x="526490" y="158279"/>
                  </a:cubicBezTo>
                  <a:lnTo>
                    <a:pt x="210762" y="0"/>
                  </a:lnTo>
                  <a:lnTo>
                    <a:pt x="164632" y="108834"/>
                  </a:lnTo>
                  <a:lnTo>
                    <a:pt x="395834" y="216839"/>
                  </a:lnTo>
                  <a:lnTo>
                    <a:pt x="57455" y="360754"/>
                  </a:lnTo>
                  <a:lnTo>
                    <a:pt x="0" y="496381"/>
                  </a:lnTo>
                  <a:lnTo>
                    <a:pt x="501630" y="277333"/>
                  </a:lnTo>
                  <a:cubicBezTo>
                    <a:pt x="541407" y="259930"/>
                    <a:pt x="564610" y="235346"/>
                    <a:pt x="565162" y="209657"/>
                  </a:cubicBezTo>
                </a:path>
              </a:pathLst>
            </a:custGeom>
            <a:solidFill>
              <a:srgbClr val="FFCC03"/>
            </a:solidFill>
            <a:ln w="2754"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8A34CEEB-4C59-4B22-91FC-7616B20275BB}"/>
                </a:ext>
              </a:extLst>
            </p:cNvPr>
            <p:cNvSpPr/>
            <p:nvPr userDrawn="1"/>
          </p:nvSpPr>
          <p:spPr bwMode="gray">
            <a:xfrm>
              <a:off x="3976786" y="3789040"/>
              <a:ext cx="564896" cy="496657"/>
            </a:xfrm>
            <a:custGeom>
              <a:avLst/>
              <a:gdLst>
                <a:gd name="connsiteX0" fmla="*/ 564886 w 564896"/>
                <a:gd name="connsiteY0" fmla="*/ 209657 h 496657"/>
                <a:gd name="connsiteX1" fmla="*/ 526214 w 564896"/>
                <a:gd name="connsiteY1" fmla="*/ 158279 h 496657"/>
                <a:gd name="connsiteX2" fmla="*/ 210486 w 564896"/>
                <a:gd name="connsiteY2" fmla="*/ 0 h 496657"/>
                <a:gd name="connsiteX3" fmla="*/ 164356 w 564896"/>
                <a:gd name="connsiteY3" fmla="*/ 108834 h 496657"/>
                <a:gd name="connsiteX4" fmla="*/ 395558 w 564896"/>
                <a:gd name="connsiteY4" fmla="*/ 216839 h 496657"/>
                <a:gd name="connsiteX5" fmla="*/ 57455 w 564896"/>
                <a:gd name="connsiteY5" fmla="*/ 361030 h 496657"/>
                <a:gd name="connsiteX6" fmla="*/ 0 w 564896"/>
                <a:gd name="connsiteY6" fmla="*/ 496658 h 496657"/>
                <a:gd name="connsiteX7" fmla="*/ 501353 w 564896"/>
                <a:gd name="connsiteY7" fmla="*/ 277609 h 496657"/>
                <a:gd name="connsiteX8" fmla="*/ 564886 w 564896"/>
                <a:gd name="connsiteY8" fmla="*/ 209657 h 49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896" h="496657">
                  <a:moveTo>
                    <a:pt x="564886" y="209657"/>
                  </a:moveTo>
                  <a:cubicBezTo>
                    <a:pt x="565162" y="197779"/>
                    <a:pt x="560466" y="175681"/>
                    <a:pt x="526214" y="158279"/>
                  </a:cubicBezTo>
                  <a:lnTo>
                    <a:pt x="210486" y="0"/>
                  </a:lnTo>
                  <a:lnTo>
                    <a:pt x="164356" y="108834"/>
                  </a:lnTo>
                  <a:lnTo>
                    <a:pt x="395558" y="216839"/>
                  </a:lnTo>
                  <a:lnTo>
                    <a:pt x="57455" y="361030"/>
                  </a:lnTo>
                  <a:lnTo>
                    <a:pt x="0" y="496658"/>
                  </a:lnTo>
                  <a:lnTo>
                    <a:pt x="501353" y="277609"/>
                  </a:lnTo>
                  <a:cubicBezTo>
                    <a:pt x="541130" y="259930"/>
                    <a:pt x="564333" y="235346"/>
                    <a:pt x="564886" y="209657"/>
                  </a:cubicBezTo>
                </a:path>
              </a:pathLst>
            </a:custGeom>
            <a:solidFill>
              <a:srgbClr val="FFCC03"/>
            </a:solidFill>
            <a:ln w="2754" cap="flat">
              <a:noFill/>
              <a:prstDash val="solid"/>
              <a:miter/>
            </a:ln>
          </p:spPr>
          <p:txBody>
            <a:bodyPr rtlCol="0" anchor="ctr"/>
            <a:lstStyle/>
            <a:p>
              <a:endParaRPr lang="en-GB"/>
            </a:p>
          </p:txBody>
        </p:sp>
        <p:sp>
          <p:nvSpPr>
            <p:cNvPr id="14" name="Freihandform: Form 13">
              <a:extLst>
                <a:ext uri="{FF2B5EF4-FFF2-40B4-BE49-F238E27FC236}">
                  <a16:creationId xmlns:a16="http://schemas.microsoft.com/office/drawing/2014/main" id="{008A29DD-ECC7-40C5-AB51-DE7D4585BAD2}"/>
                </a:ext>
              </a:extLst>
            </p:cNvPr>
            <p:cNvSpPr/>
            <p:nvPr userDrawn="1"/>
          </p:nvSpPr>
          <p:spPr bwMode="gray">
            <a:xfrm>
              <a:off x="4443059" y="3789040"/>
              <a:ext cx="564970" cy="496657"/>
            </a:xfrm>
            <a:custGeom>
              <a:avLst/>
              <a:gdLst>
                <a:gd name="connsiteX0" fmla="*/ 526766 w 564970"/>
                <a:gd name="connsiteY0" fmla="*/ 158555 h 496657"/>
                <a:gd name="connsiteX1" fmla="*/ 210762 w 564970"/>
                <a:gd name="connsiteY1" fmla="*/ 0 h 496657"/>
                <a:gd name="connsiteX2" fmla="*/ 164632 w 564970"/>
                <a:gd name="connsiteY2" fmla="*/ 108834 h 496657"/>
                <a:gd name="connsiteX3" fmla="*/ 395558 w 564970"/>
                <a:gd name="connsiteY3" fmla="*/ 216839 h 496657"/>
                <a:gd name="connsiteX4" fmla="*/ 57455 w 564970"/>
                <a:gd name="connsiteY4" fmla="*/ 361030 h 496657"/>
                <a:gd name="connsiteX5" fmla="*/ 0 w 564970"/>
                <a:gd name="connsiteY5" fmla="*/ 496658 h 496657"/>
                <a:gd name="connsiteX6" fmla="*/ 501353 w 564970"/>
                <a:gd name="connsiteY6" fmla="*/ 277609 h 496657"/>
                <a:gd name="connsiteX7" fmla="*/ 564886 w 564970"/>
                <a:gd name="connsiteY7" fmla="*/ 209933 h 496657"/>
                <a:gd name="connsiteX8" fmla="*/ 526766 w 564970"/>
                <a:gd name="connsiteY8" fmla="*/ 158555 h 49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970" h="496657">
                  <a:moveTo>
                    <a:pt x="526766" y="158555"/>
                  </a:moveTo>
                  <a:lnTo>
                    <a:pt x="210762" y="0"/>
                  </a:lnTo>
                  <a:lnTo>
                    <a:pt x="164632" y="108834"/>
                  </a:lnTo>
                  <a:lnTo>
                    <a:pt x="395558" y="216839"/>
                  </a:lnTo>
                  <a:lnTo>
                    <a:pt x="57455" y="361030"/>
                  </a:lnTo>
                  <a:lnTo>
                    <a:pt x="0" y="496658"/>
                  </a:lnTo>
                  <a:lnTo>
                    <a:pt x="501353" y="277609"/>
                  </a:lnTo>
                  <a:cubicBezTo>
                    <a:pt x="541130" y="260207"/>
                    <a:pt x="564333" y="235622"/>
                    <a:pt x="564886" y="209933"/>
                  </a:cubicBezTo>
                  <a:cubicBezTo>
                    <a:pt x="565715" y="198055"/>
                    <a:pt x="561019" y="175681"/>
                    <a:pt x="526766" y="158555"/>
                  </a:cubicBezTo>
                </a:path>
              </a:pathLst>
            </a:custGeom>
            <a:solidFill>
              <a:srgbClr val="FFFFFF"/>
            </a:solidFill>
            <a:ln w="2754" cap="flat">
              <a:noFill/>
              <a:prstDash val="solid"/>
              <a:miter/>
            </a:ln>
          </p:spPr>
          <p:txBody>
            <a:bodyPr rtlCol="0" anchor="ctr"/>
            <a:lstStyle/>
            <a:p>
              <a:endParaRPr lang="en-GB"/>
            </a:p>
          </p:txBody>
        </p:sp>
      </p:grpSp>
      <p:sp>
        <p:nvSpPr>
          <p:cNvPr id="8" name="Textplatzhalter 7"/>
          <p:cNvSpPr>
            <a:spLocks noGrp="1"/>
          </p:cNvSpPr>
          <p:nvPr>
            <p:ph type="body" sz="quarter" idx="10" hasCustomPrompt="1"/>
          </p:nvPr>
        </p:nvSpPr>
        <p:spPr bwMode="gray">
          <a:xfrm>
            <a:off x="7176120" y="3501009"/>
            <a:ext cx="2951881" cy="2448271"/>
          </a:xfrm>
        </p:spPr>
        <p:txBody>
          <a:bodyPr anchor="t" anchorCtr="0"/>
          <a:lstStyle>
            <a:lvl1pPr algn="l">
              <a:spcBef>
                <a:spcPts val="0"/>
              </a:spcBef>
              <a:spcAft>
                <a:spcPts val="200"/>
              </a:spcAft>
              <a:defRPr sz="1600" b="1" i="1">
                <a:solidFill>
                  <a:schemeClr val="bg1"/>
                </a:solidFill>
              </a:defRPr>
            </a:lvl1pPr>
            <a:lvl2pPr marL="0" indent="0" algn="l">
              <a:spcBef>
                <a:spcPts val="0"/>
              </a:spcBef>
              <a:spcAft>
                <a:spcPts val="0"/>
              </a:spcAft>
              <a:buFont typeface="Arial" panose="020B0604020202020204" pitchFamily="34" charset="0"/>
              <a:buNone/>
              <a:tabLst>
                <a:tab pos="723900" algn="l"/>
              </a:tabLst>
              <a:defRPr b="0" i="0">
                <a:solidFill>
                  <a:schemeClr val="bg1"/>
                </a:solidFill>
              </a:defRPr>
            </a:lvl2pPr>
            <a:lvl3pPr marL="0" indent="0" algn="l">
              <a:spcBef>
                <a:spcPts val="0"/>
              </a:spcBef>
              <a:spcAft>
                <a:spcPts val="0"/>
              </a:spcAft>
              <a:buNone/>
              <a:tabLst>
                <a:tab pos="723900" algn="l"/>
              </a:tabLst>
              <a:defRPr sz="1400">
                <a:solidFill>
                  <a:schemeClr val="bg1"/>
                </a:solidFill>
              </a:defRPr>
            </a:lvl3pPr>
            <a:lvl4pPr marL="0" indent="0" algn="l">
              <a:spcBef>
                <a:spcPts val="0"/>
              </a:spcBef>
              <a:spcAft>
                <a:spcPts val="0"/>
              </a:spcAft>
              <a:buNone/>
              <a:tabLst>
                <a:tab pos="723900" algn="l"/>
              </a:tabLst>
              <a:defRPr sz="1400">
                <a:solidFill>
                  <a:schemeClr val="bg1"/>
                </a:solidFill>
              </a:defRPr>
            </a:lvl4pPr>
            <a:lvl5pPr marL="0" indent="0" algn="l">
              <a:spcBef>
                <a:spcPts val="0"/>
              </a:spcBef>
              <a:spcAft>
                <a:spcPts val="0"/>
              </a:spcAft>
              <a:buNone/>
              <a:tabLst>
                <a:tab pos="723900" algn="l"/>
              </a:tabLst>
              <a:defRPr sz="1400">
                <a:solidFill>
                  <a:schemeClr val="bg1"/>
                </a:solidFill>
              </a:defRPr>
            </a:lvl5pPr>
            <a:lvl6pPr marL="0" indent="0">
              <a:spcBef>
                <a:spcPts val="0"/>
              </a:spcBef>
              <a:spcAft>
                <a:spcPts val="0"/>
              </a:spcAft>
              <a:buNone/>
              <a:tabLst>
                <a:tab pos="723900" algn="l"/>
              </a:tabLst>
              <a:defRPr sz="1400">
                <a:solidFill>
                  <a:schemeClr val="bg1"/>
                </a:solidFill>
              </a:defRPr>
            </a:lvl6pPr>
            <a:lvl7pPr marL="0" indent="0">
              <a:spcBef>
                <a:spcPts val="0"/>
              </a:spcBef>
              <a:spcAft>
                <a:spcPts val="0"/>
              </a:spcAft>
              <a:buNone/>
              <a:tabLst>
                <a:tab pos="723900" algn="l"/>
              </a:tabLst>
              <a:defRPr sz="1400">
                <a:solidFill>
                  <a:schemeClr val="bg1"/>
                </a:solidFill>
              </a:defRPr>
            </a:lvl7pPr>
            <a:lvl8pPr marL="0" indent="0">
              <a:spcBef>
                <a:spcPts val="0"/>
              </a:spcBef>
              <a:spcAft>
                <a:spcPts val="0"/>
              </a:spcAft>
              <a:buNone/>
              <a:tabLst>
                <a:tab pos="723900" algn="l"/>
              </a:tabLst>
              <a:defRPr sz="1400">
                <a:solidFill>
                  <a:schemeClr val="bg1"/>
                </a:solidFill>
              </a:defRPr>
            </a:lvl8pPr>
            <a:lvl9pPr marL="0" indent="0">
              <a:spcBef>
                <a:spcPts val="0"/>
              </a:spcBef>
              <a:spcAft>
                <a:spcPts val="0"/>
              </a:spcAft>
              <a:buNone/>
              <a:tabLst>
                <a:tab pos="723900" algn="l"/>
              </a:tabLst>
              <a:defRPr sz="1400">
                <a:solidFill>
                  <a:schemeClr val="bg1"/>
                </a:solidFill>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John Doe</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grpSp>
        <p:nvGrpSpPr>
          <p:cNvPr id="16" name="Gruppieren 15">
            <a:extLst>
              <a:ext uri="{FF2B5EF4-FFF2-40B4-BE49-F238E27FC236}">
                <a16:creationId xmlns:a16="http://schemas.microsoft.com/office/drawing/2014/main" id="{CE80A5CF-5356-487C-B121-1DBA214D070E}"/>
              </a:ext>
            </a:extLst>
          </p:cNvPr>
          <p:cNvGrpSpPr/>
          <p:nvPr userDrawn="1"/>
        </p:nvGrpSpPr>
        <p:grpSpPr bwMode="gray">
          <a:xfrm>
            <a:off x="335360" y="-171400"/>
            <a:ext cx="11521184" cy="72000"/>
            <a:chOff x="335360" y="-243408"/>
            <a:chExt cx="11521184" cy="72000"/>
          </a:xfrm>
        </p:grpSpPr>
        <p:sp>
          <p:nvSpPr>
            <p:cNvPr id="17" name="Rechteck 16">
              <a:extLst>
                <a:ext uri="{FF2B5EF4-FFF2-40B4-BE49-F238E27FC236}">
                  <a16:creationId xmlns:a16="http://schemas.microsoft.com/office/drawing/2014/main" id="{AF2EF0F5-3B5A-47BF-B0A9-6635E63297DA}"/>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8" name="Rechteck 17">
              <a:extLst>
                <a:ext uri="{FF2B5EF4-FFF2-40B4-BE49-F238E27FC236}">
                  <a16:creationId xmlns:a16="http://schemas.microsoft.com/office/drawing/2014/main" id="{84FAD443-62C0-4588-9D9F-A208340D0563}"/>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1" name="Rechteck 20">
              <a:extLst>
                <a:ext uri="{FF2B5EF4-FFF2-40B4-BE49-F238E27FC236}">
                  <a16:creationId xmlns:a16="http://schemas.microsoft.com/office/drawing/2014/main" id="{7F9E1938-FAFA-437A-AED5-D14536E59333}"/>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2" name="Rechteck 21">
              <a:extLst>
                <a:ext uri="{FF2B5EF4-FFF2-40B4-BE49-F238E27FC236}">
                  <a16:creationId xmlns:a16="http://schemas.microsoft.com/office/drawing/2014/main" id="{036585D7-FBA9-44A4-B2BE-A7ECC3362A2D}"/>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3" name="Rechteck 22">
              <a:extLst>
                <a:ext uri="{FF2B5EF4-FFF2-40B4-BE49-F238E27FC236}">
                  <a16:creationId xmlns:a16="http://schemas.microsoft.com/office/drawing/2014/main" id="{B3C5142E-F91C-48EF-9BA6-026F4ABB11E1}"/>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4" name="Rechteck 23">
              <a:extLst>
                <a:ext uri="{FF2B5EF4-FFF2-40B4-BE49-F238E27FC236}">
                  <a16:creationId xmlns:a16="http://schemas.microsoft.com/office/drawing/2014/main" id="{2CC43E90-CDAB-45F9-BA68-8A353EB77FFD}"/>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Rechteck 24">
              <a:extLst>
                <a:ext uri="{FF2B5EF4-FFF2-40B4-BE49-F238E27FC236}">
                  <a16:creationId xmlns:a16="http://schemas.microsoft.com/office/drawing/2014/main" id="{5EFB8EB4-8CE6-46CD-B832-2B33A8F7F5A4}"/>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6" name="Rechteck 25">
              <a:extLst>
                <a:ext uri="{FF2B5EF4-FFF2-40B4-BE49-F238E27FC236}">
                  <a16:creationId xmlns:a16="http://schemas.microsoft.com/office/drawing/2014/main" id="{AEA57C20-E960-4E2A-A231-CA4B24E52934}"/>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7" name="Rechteck 26">
              <a:extLst>
                <a:ext uri="{FF2B5EF4-FFF2-40B4-BE49-F238E27FC236}">
                  <a16:creationId xmlns:a16="http://schemas.microsoft.com/office/drawing/2014/main" id="{8677DB7C-485D-4625-87B1-BD3F202CAE93}"/>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8" name="Rechteck 27">
              <a:extLst>
                <a:ext uri="{FF2B5EF4-FFF2-40B4-BE49-F238E27FC236}">
                  <a16:creationId xmlns:a16="http://schemas.microsoft.com/office/drawing/2014/main" id="{CF2960B0-7997-4F30-A7F6-3A1681B71853}"/>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9" name="Rechteck 28">
              <a:extLst>
                <a:ext uri="{FF2B5EF4-FFF2-40B4-BE49-F238E27FC236}">
                  <a16:creationId xmlns:a16="http://schemas.microsoft.com/office/drawing/2014/main" id="{26F15D5E-2C01-40AF-BEFB-3F1AA599DB8E}"/>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Rechteck 29">
              <a:extLst>
                <a:ext uri="{FF2B5EF4-FFF2-40B4-BE49-F238E27FC236}">
                  <a16:creationId xmlns:a16="http://schemas.microsoft.com/office/drawing/2014/main" id="{42C4F793-8057-48B5-9706-8253B0171FD0}"/>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31" name="Gruppieren 30">
            <a:extLst>
              <a:ext uri="{FF2B5EF4-FFF2-40B4-BE49-F238E27FC236}">
                <a16:creationId xmlns:a16="http://schemas.microsoft.com/office/drawing/2014/main" id="{1B66F082-9574-437C-AE48-6E88EB25F0DD}"/>
              </a:ext>
            </a:extLst>
          </p:cNvPr>
          <p:cNvGrpSpPr/>
          <p:nvPr userDrawn="1"/>
        </p:nvGrpSpPr>
        <p:grpSpPr bwMode="gray">
          <a:xfrm>
            <a:off x="335360" y="-171400"/>
            <a:ext cx="11521280" cy="72000"/>
            <a:chOff x="335360" y="-243408"/>
            <a:chExt cx="11521280" cy="216000"/>
          </a:xfrm>
        </p:grpSpPr>
        <p:cxnSp>
          <p:nvCxnSpPr>
            <p:cNvPr id="32" name="Gerader Verbinder 31">
              <a:extLst>
                <a:ext uri="{FF2B5EF4-FFF2-40B4-BE49-F238E27FC236}">
                  <a16:creationId xmlns:a16="http://schemas.microsoft.com/office/drawing/2014/main" id="{5A024D46-435C-4426-839D-A27D7267DAF3}"/>
                </a:ext>
              </a:extLst>
            </p:cNvPr>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C45A3C6D-E8FE-4145-940F-61DBA7471BA8}"/>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50D50C2-8BFE-459D-BE83-B122DFFF23E0}"/>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407F422-7A28-4332-8A5C-2B433FC709F7}"/>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39813E08-882B-4EB3-9004-9AA551B7909F}"/>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EDF19C7B-8927-4860-B102-EB351E797240}"/>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94EDBC8-EFF2-4C92-9049-F4972188DB49}"/>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B03E7916-38D1-4E2A-BB68-C1735F377A89}"/>
                </a:ext>
              </a:extLst>
            </p:cNvPr>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3" name="Textfeld 42">
            <a:extLst>
              <a:ext uri="{FF2B5EF4-FFF2-40B4-BE49-F238E27FC236}">
                <a16:creationId xmlns:a16="http://schemas.microsoft.com/office/drawing/2014/main" id="{7B32BFCB-2DB1-4D98-A001-9BF5D609801C}"/>
              </a:ext>
            </a:extLst>
          </p:cNvPr>
          <p:cNvSpPr txBox="1"/>
          <p:nvPr userDrawn="1"/>
        </p:nvSpPr>
        <p:spPr bwMode="gray">
          <a:xfrm>
            <a:off x="-2001280" y="188640"/>
            <a:ext cx="1801058" cy="1015663"/>
          </a:xfrm>
          <a:prstGeom prst="rect">
            <a:avLst/>
          </a:prstGeom>
          <a:noFill/>
        </p:spPr>
        <p:txBody>
          <a:bodyPr wrap="square">
            <a:spAutoFit/>
          </a:bodyPr>
          <a:lstStyle/>
          <a:p>
            <a:pPr algn="r">
              <a:spcAft>
                <a:spcPts val="400"/>
              </a:spcAft>
            </a:pPr>
            <a:r>
              <a:rPr lang="en-US" sz="1000" b="0" i="0">
                <a:solidFill>
                  <a:schemeClr val="tx1"/>
                </a:solidFill>
                <a:effectLst/>
              </a:rPr>
              <a:t>You can add a generic picture or your own portrait to the image placeholder. </a:t>
            </a:r>
            <a:br>
              <a:rPr lang="en-US" sz="1000" b="0" i="0">
                <a:solidFill>
                  <a:schemeClr val="tx1"/>
                </a:solidFill>
                <a:effectLst/>
              </a:rPr>
            </a:br>
            <a:r>
              <a:rPr lang="en-US" sz="1000" b="0" i="0">
                <a:solidFill>
                  <a:schemeClr val="tx1"/>
                </a:solidFill>
                <a:effectLst/>
              </a:rPr>
              <a:t>If you insert your own portrait it would be more personal.</a:t>
            </a:r>
            <a:endParaRPr lang="en-GB" sz="1000" b="0" i="0">
              <a:solidFill>
                <a:schemeClr val="tx1"/>
              </a:solidFill>
              <a:effectLst/>
            </a:endParaRPr>
          </a:p>
        </p:txBody>
      </p:sp>
    </p:spTree>
    <p:extLst>
      <p:ext uri="{BB962C8B-B14F-4D97-AF65-F5344CB8AC3E}">
        <p14:creationId xmlns:p14="http://schemas.microsoft.com/office/powerpoint/2010/main" val="1494416066"/>
      </p:ext>
    </p:extLst>
  </p:cSld>
  <p:clrMapOvr>
    <a:masterClrMapping/>
  </p:clrMapOvr>
  <p:extLst>
    <p:ext uri="{DCECCB84-F9BA-43D5-87BE-67443E8EF086}">
      <p15:sldGuideLst xmlns:p15="http://schemas.microsoft.com/office/powerpoint/2012/main">
        <p15:guide id="1" pos="4520" userDrawn="1">
          <p15:clr>
            <a:srgbClr val="F26B43"/>
          </p15:clr>
        </p15:guide>
        <p15:guide id="2" orient="horz" pos="2205"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BC80E646-F6EC-4487-863C-55138C5B8100}"/>
              </a:ext>
            </a:extLst>
          </p:cNvPr>
          <p:cNvGrpSpPr/>
          <p:nvPr userDrawn="1"/>
        </p:nvGrpSpPr>
        <p:grpSpPr bwMode="gray">
          <a:xfrm>
            <a:off x="335360" y="-171400"/>
            <a:ext cx="11521184" cy="72000"/>
            <a:chOff x="335360" y="-243408"/>
            <a:chExt cx="11521184" cy="72000"/>
          </a:xfrm>
        </p:grpSpPr>
        <p:sp>
          <p:nvSpPr>
            <p:cNvPr id="4" name="Rechteck 3">
              <a:extLst>
                <a:ext uri="{FF2B5EF4-FFF2-40B4-BE49-F238E27FC236}">
                  <a16:creationId xmlns:a16="http://schemas.microsoft.com/office/drawing/2014/main" id="{AE602C90-46B8-4D55-BC1F-31DB36D43A90}"/>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Rechteck 4">
              <a:extLst>
                <a:ext uri="{FF2B5EF4-FFF2-40B4-BE49-F238E27FC236}">
                  <a16:creationId xmlns:a16="http://schemas.microsoft.com/office/drawing/2014/main" id="{4ADB90EA-5461-4040-93B0-220C5DD41CA8}"/>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6" name="Rechteck 5">
              <a:extLst>
                <a:ext uri="{FF2B5EF4-FFF2-40B4-BE49-F238E27FC236}">
                  <a16:creationId xmlns:a16="http://schemas.microsoft.com/office/drawing/2014/main" id="{C9F508A6-C028-461F-9D44-78EE01A8A259}"/>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 name="Rechteck 6">
              <a:extLst>
                <a:ext uri="{FF2B5EF4-FFF2-40B4-BE49-F238E27FC236}">
                  <a16:creationId xmlns:a16="http://schemas.microsoft.com/office/drawing/2014/main" id="{9CA39484-4699-44D0-AFCF-78E29E3B8CFE}"/>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8" name="Rechteck 7">
              <a:extLst>
                <a:ext uri="{FF2B5EF4-FFF2-40B4-BE49-F238E27FC236}">
                  <a16:creationId xmlns:a16="http://schemas.microsoft.com/office/drawing/2014/main" id="{0AE18878-2658-4BA9-A241-858C3D62AA3A}"/>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9" name="Rechteck 8">
              <a:extLst>
                <a:ext uri="{FF2B5EF4-FFF2-40B4-BE49-F238E27FC236}">
                  <a16:creationId xmlns:a16="http://schemas.microsoft.com/office/drawing/2014/main" id="{F35E593A-5F46-40D7-A494-21189241C60F}"/>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 name="Rechteck 9">
              <a:extLst>
                <a:ext uri="{FF2B5EF4-FFF2-40B4-BE49-F238E27FC236}">
                  <a16:creationId xmlns:a16="http://schemas.microsoft.com/office/drawing/2014/main" id="{E170BE21-6462-4F24-86C8-D167B9F617C3}"/>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 name="Rechteck 10">
              <a:extLst>
                <a:ext uri="{FF2B5EF4-FFF2-40B4-BE49-F238E27FC236}">
                  <a16:creationId xmlns:a16="http://schemas.microsoft.com/office/drawing/2014/main" id="{F237A1F6-4018-49F1-B40B-D802716E1AE5}"/>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2" name="Rechteck 11">
              <a:extLst>
                <a:ext uri="{FF2B5EF4-FFF2-40B4-BE49-F238E27FC236}">
                  <a16:creationId xmlns:a16="http://schemas.microsoft.com/office/drawing/2014/main" id="{BE8E5858-E545-4FFA-9FD6-DFB1A50EB511}"/>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3" name="Rechteck 12">
              <a:extLst>
                <a:ext uri="{FF2B5EF4-FFF2-40B4-BE49-F238E27FC236}">
                  <a16:creationId xmlns:a16="http://schemas.microsoft.com/office/drawing/2014/main" id="{652A50CA-7728-403D-BE22-3C84B61F7CC2}"/>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4" name="Rechteck 13">
              <a:extLst>
                <a:ext uri="{FF2B5EF4-FFF2-40B4-BE49-F238E27FC236}">
                  <a16:creationId xmlns:a16="http://schemas.microsoft.com/office/drawing/2014/main" id="{25C318F9-1333-45C7-9F97-F2007733DDFC}"/>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5" name="Rechteck 14">
              <a:extLst>
                <a:ext uri="{FF2B5EF4-FFF2-40B4-BE49-F238E27FC236}">
                  <a16:creationId xmlns:a16="http://schemas.microsoft.com/office/drawing/2014/main" id="{619C40CF-7594-4D80-93F4-70FEFE8F4735}"/>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16" name="Gruppieren 15">
            <a:extLst>
              <a:ext uri="{FF2B5EF4-FFF2-40B4-BE49-F238E27FC236}">
                <a16:creationId xmlns:a16="http://schemas.microsoft.com/office/drawing/2014/main" id="{F8E80BD3-D576-48C7-AA2F-3234523FC759}"/>
              </a:ext>
            </a:extLst>
          </p:cNvPr>
          <p:cNvGrpSpPr/>
          <p:nvPr userDrawn="1"/>
        </p:nvGrpSpPr>
        <p:grpSpPr bwMode="gray">
          <a:xfrm>
            <a:off x="335360" y="-171400"/>
            <a:ext cx="11521280" cy="72000"/>
            <a:chOff x="335360" y="-243408"/>
            <a:chExt cx="11521280" cy="216000"/>
          </a:xfrm>
        </p:grpSpPr>
        <p:cxnSp>
          <p:nvCxnSpPr>
            <p:cNvPr id="17" name="Gerader Verbinder 16">
              <a:extLst>
                <a:ext uri="{FF2B5EF4-FFF2-40B4-BE49-F238E27FC236}">
                  <a16:creationId xmlns:a16="http://schemas.microsoft.com/office/drawing/2014/main" id="{3D5CEB21-27ED-4E5D-95B3-1CF1149D702A}"/>
                </a:ext>
              </a:extLst>
            </p:cNvPr>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63F747D-80B5-4411-98DC-B5200DCBDBD0}"/>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6D96DF7-D9BE-4992-BD04-D56D83921AB0}"/>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D343A4C-99CF-4722-9F7E-EAFFF2D7E272}"/>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1FE2CBC0-7252-46C7-991A-6728E28239BB}"/>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3C0015C-5DF7-4570-9BCE-6D883D3CDDC5}"/>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9F456A6-84FD-4C26-BF33-246A010345D3}"/>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764D297-47AE-4448-A01F-329B6ED434CA}"/>
                </a:ext>
              </a:extLst>
            </p:cNvPr>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3" name="Fußzeilenplatzhalter 3">
            <a:extLst>
              <a:ext uri="{FF2B5EF4-FFF2-40B4-BE49-F238E27FC236}">
                <a16:creationId xmlns:a16="http://schemas.microsoft.com/office/drawing/2014/main" id="{7291BD41-0D43-459F-92CD-683678986DE0}"/>
              </a:ext>
            </a:extLst>
          </p:cNvPr>
          <p:cNvSpPr>
            <a:spLocks noGrp="1"/>
          </p:cNvSpPr>
          <p:nvPr>
            <p:ph type="ftr" sz="quarter" idx="11"/>
          </p:nvPr>
        </p:nvSpPr>
        <p:spPr bwMode="gray">
          <a:xfrm>
            <a:off x="8831966" y="304475"/>
            <a:ext cx="1801058" cy="144000"/>
          </a:xfrm>
        </p:spPr>
        <p:txBody>
          <a:bodyPr/>
          <a:lstStyle/>
          <a:p>
            <a:r>
              <a:rPr lang="en-GB"/>
              <a:t>Green Gantry</a:t>
            </a:r>
            <a:endParaRPr lang="en-GB" i="1"/>
          </a:p>
        </p:txBody>
      </p:sp>
      <p:sp>
        <p:nvSpPr>
          <p:cNvPr id="34" name="Foliennummernplatzhalter 4">
            <a:extLst>
              <a:ext uri="{FF2B5EF4-FFF2-40B4-BE49-F238E27FC236}">
                <a16:creationId xmlns:a16="http://schemas.microsoft.com/office/drawing/2014/main" id="{5DF49AC5-334A-4612-ABBF-E3317FA4D108}"/>
              </a:ext>
            </a:extLst>
          </p:cNvPr>
          <p:cNvSpPr>
            <a:spLocks noGrp="1"/>
          </p:cNvSpPr>
          <p:nvPr>
            <p:ph type="sldNum" sz="quarter" idx="12"/>
          </p:nvPr>
        </p:nvSpPr>
        <p:spPr bwMode="gray">
          <a:xfrm>
            <a:off x="10777040" y="304475"/>
            <a:ext cx="287512" cy="144000"/>
          </a:xfrm>
        </p:spPr>
        <p:txBody>
          <a:bodyPr/>
          <a:lstStyle/>
          <a:p>
            <a:fld id="{8FF9B0DE-3FEB-4AA0-B465-B80EF7C1333D}" type="slidenum">
              <a:rPr lang="en-GB" smtClean="0"/>
              <a:t>‹Nr.›</a:t>
            </a:fld>
            <a:endParaRPr lang="en-GB"/>
          </a:p>
        </p:txBody>
      </p:sp>
      <p:sp>
        <p:nvSpPr>
          <p:cNvPr id="35" name="Textplatzhalter 45">
            <a:extLst>
              <a:ext uri="{FF2B5EF4-FFF2-40B4-BE49-F238E27FC236}">
                <a16:creationId xmlns:a16="http://schemas.microsoft.com/office/drawing/2014/main" id="{41B663E9-D2C7-4434-8DB0-5CF2C9EF37D1}"/>
              </a:ext>
            </a:extLst>
          </p:cNvPr>
          <p:cNvSpPr txBox="1">
            <a:spLocks/>
          </p:cNvSpPr>
          <p:nvPr userDrawn="1"/>
        </p:nvSpPr>
        <p:spPr bwMode="gray">
          <a:xfrm>
            <a:off x="11135478" y="-52"/>
            <a:ext cx="7200" cy="4608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
        <p:nvSpPr>
          <p:cNvPr id="36" name="Textplatzhalter 45">
            <a:extLst>
              <a:ext uri="{FF2B5EF4-FFF2-40B4-BE49-F238E27FC236}">
                <a16:creationId xmlns:a16="http://schemas.microsoft.com/office/drawing/2014/main" id="{6AB6BD50-D525-44B0-8122-48A45AB975EE}"/>
              </a:ext>
            </a:extLst>
          </p:cNvPr>
          <p:cNvSpPr txBox="1">
            <a:spLocks/>
          </p:cNvSpPr>
          <p:nvPr userDrawn="1"/>
        </p:nvSpPr>
        <p:spPr bwMode="gray">
          <a:xfrm>
            <a:off x="10701432" y="302348"/>
            <a:ext cx="7200" cy="1584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
        <p:nvSpPr>
          <p:cNvPr id="29" name="Textfeld 28">
            <a:extLst>
              <a:ext uri="{FF2B5EF4-FFF2-40B4-BE49-F238E27FC236}">
                <a16:creationId xmlns:a16="http://schemas.microsoft.com/office/drawing/2014/main" id="{803BA1AA-9858-4903-BAB3-83F50526E382}"/>
              </a:ext>
            </a:extLst>
          </p:cNvPr>
          <p:cNvSpPr txBox="1"/>
          <p:nvPr userDrawn="1"/>
        </p:nvSpPr>
        <p:spPr bwMode="gray">
          <a:xfrm>
            <a:off x="-2001280" y="188640"/>
            <a:ext cx="1801058" cy="1785104"/>
          </a:xfrm>
          <a:prstGeom prst="rect">
            <a:avLst/>
          </a:prstGeom>
          <a:noFill/>
        </p:spPr>
        <p:txBody>
          <a:bodyPr wrap="square">
            <a:spAutoFit/>
          </a:bodyPr>
          <a:lstStyle/>
          <a:p>
            <a:pPr algn="r">
              <a:spcAft>
                <a:spcPts val="400"/>
              </a:spcAft>
            </a:pPr>
            <a:r>
              <a:rPr lang="en-US" sz="1000" b="0" i="0">
                <a:solidFill>
                  <a:schemeClr val="tx1"/>
                </a:solidFill>
                <a:effectLst/>
              </a:rPr>
              <a:t>This layout offers the maximum amount of space you can design yourself. Most of the slides in the slide library are based on this type of layout. Screenshots, images, texts etc. can be set as desired. If you reset the slide, no unwanted changes will occur to the content.</a:t>
            </a:r>
            <a:endParaRPr lang="en-GB" sz="1000" b="0" i="0">
              <a:solidFill>
                <a:schemeClr val="tx1"/>
              </a:solidFill>
              <a:effectLst/>
            </a:endParaRPr>
          </a:p>
        </p:txBody>
      </p:sp>
    </p:spTree>
    <p:extLst>
      <p:ext uri="{BB962C8B-B14F-4D97-AF65-F5344CB8AC3E}">
        <p14:creationId xmlns:p14="http://schemas.microsoft.com/office/powerpoint/2010/main" val="4164875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EA9B2FC2-701F-4296-B196-BAA0C0C03521}"/>
              </a:ext>
            </a:extLst>
          </p:cNvPr>
          <p:cNvSpPr/>
          <p:nvPr userDrawn="1"/>
        </p:nvSpPr>
        <p:spPr bwMode="gray">
          <a:xfrm>
            <a:off x="9984432" y="-1"/>
            <a:ext cx="2207568" cy="83671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 name="Untertitel 2"/>
          <p:cNvSpPr>
            <a:spLocks noGrp="1"/>
          </p:cNvSpPr>
          <p:nvPr>
            <p:ph type="subTitle" idx="1" hasCustomPrompt="1"/>
          </p:nvPr>
        </p:nvSpPr>
        <p:spPr bwMode="gray">
          <a:xfrm>
            <a:off x="4295774" y="5445224"/>
            <a:ext cx="6553203" cy="432048"/>
          </a:xfrm>
        </p:spPr>
        <p:txBody>
          <a:bodyPr/>
          <a:lstStyle>
            <a:lvl1pPr marL="0" indent="0" algn="l">
              <a:lnSpc>
                <a:spcPct val="100000"/>
              </a:lnSpc>
              <a:spcBef>
                <a:spcPts val="0"/>
              </a:spcBef>
              <a:spcAft>
                <a:spcPts val="0"/>
              </a:spcAft>
              <a:buFont typeface="Arial" panose="020B0604020202020204" pitchFamily="34" charset="0"/>
              <a:buNone/>
              <a:defRPr sz="1400" b="0" i="0">
                <a:latin typeface="+mn-lt"/>
              </a:defRPr>
            </a:lvl1pPr>
            <a:lvl2pPr marL="0" indent="0" algn="l">
              <a:lnSpc>
                <a:spcPct val="100000"/>
              </a:lnSpc>
              <a:spcBef>
                <a:spcPts val="0"/>
              </a:spcBef>
              <a:spcAft>
                <a:spcPts val="0"/>
              </a:spcAft>
              <a:buFont typeface="Arial" panose="020B0604020202020204" pitchFamily="34" charset="0"/>
              <a:buNone/>
              <a:defRPr sz="1400" b="0" i="0">
                <a:latin typeface="+mn-lt"/>
              </a:defRPr>
            </a:lvl2pPr>
            <a:lvl3pPr marL="0" indent="0" algn="l">
              <a:lnSpc>
                <a:spcPct val="100000"/>
              </a:lnSpc>
              <a:spcBef>
                <a:spcPts val="0"/>
              </a:spcBef>
              <a:spcAft>
                <a:spcPts val="0"/>
              </a:spcAft>
              <a:buFont typeface="Arial" panose="020B0604020202020204" pitchFamily="34" charset="0"/>
              <a:buNone/>
              <a:defRPr sz="1400" b="0" i="0">
                <a:latin typeface="+mn-lt"/>
              </a:defRPr>
            </a:lvl3pPr>
            <a:lvl4pPr marL="0" indent="0" algn="l">
              <a:lnSpc>
                <a:spcPct val="100000"/>
              </a:lnSpc>
              <a:spcBef>
                <a:spcPts val="0"/>
              </a:spcBef>
              <a:spcAft>
                <a:spcPts val="0"/>
              </a:spcAft>
              <a:buFont typeface="Arial" panose="020B0604020202020204" pitchFamily="34" charset="0"/>
              <a:buNone/>
              <a:defRPr sz="1400" b="0" i="0">
                <a:latin typeface="+mn-lt"/>
              </a:defRPr>
            </a:lvl4pPr>
            <a:lvl5pPr marL="0" indent="0" algn="l">
              <a:lnSpc>
                <a:spcPct val="100000"/>
              </a:lnSpc>
              <a:spcBef>
                <a:spcPts val="0"/>
              </a:spcBef>
              <a:spcAft>
                <a:spcPts val="0"/>
              </a:spcAft>
              <a:buFont typeface="Arial" panose="020B0604020202020204" pitchFamily="34" charset="0"/>
              <a:buNone/>
              <a:defRPr sz="1400" b="0" i="0">
                <a:latin typeface="+mn-lt"/>
              </a:defRPr>
            </a:lvl5pPr>
            <a:lvl6pPr marL="0" indent="0" algn="l">
              <a:lnSpc>
                <a:spcPct val="100000"/>
              </a:lnSpc>
              <a:spcBef>
                <a:spcPts val="0"/>
              </a:spcBef>
              <a:spcAft>
                <a:spcPts val="0"/>
              </a:spcAft>
              <a:buFont typeface="Arial" panose="020B0604020202020204" pitchFamily="34" charset="0"/>
              <a:buNone/>
              <a:defRPr sz="1400" b="0" i="0">
                <a:latin typeface="+mn-lt"/>
              </a:defRPr>
            </a:lvl6pPr>
            <a:lvl7pPr marL="0" indent="0" algn="l">
              <a:lnSpc>
                <a:spcPct val="100000"/>
              </a:lnSpc>
              <a:spcBef>
                <a:spcPts val="0"/>
              </a:spcBef>
              <a:spcAft>
                <a:spcPts val="0"/>
              </a:spcAft>
              <a:buFont typeface="Arial" panose="020B0604020202020204" pitchFamily="34" charset="0"/>
              <a:buNone/>
              <a:defRPr sz="1400" b="0" i="0">
                <a:latin typeface="+mn-lt"/>
              </a:defRPr>
            </a:lvl7pPr>
            <a:lvl8pPr marL="0" indent="0" algn="l">
              <a:lnSpc>
                <a:spcPct val="100000"/>
              </a:lnSpc>
              <a:spcBef>
                <a:spcPts val="0"/>
              </a:spcBef>
              <a:spcAft>
                <a:spcPts val="0"/>
              </a:spcAft>
              <a:buFont typeface="Arial" panose="020B0604020202020204" pitchFamily="34" charset="0"/>
              <a:buNone/>
              <a:defRPr sz="1400" b="0" i="0">
                <a:latin typeface="+mn-lt"/>
              </a:defRPr>
            </a:lvl8pPr>
            <a:lvl9pPr marL="0" indent="0" algn="l">
              <a:lnSpc>
                <a:spcPct val="100000"/>
              </a:lnSpc>
              <a:spcBef>
                <a:spcPts val="0"/>
              </a:spcBef>
              <a:spcAft>
                <a:spcPts val="0"/>
              </a:spcAft>
              <a:buFont typeface="Arial" panose="020B0604020202020204" pitchFamily="34" charset="0"/>
              <a:buNone/>
              <a:defRPr sz="1400" b="0" i="0">
                <a:latin typeface="+mn-lt"/>
              </a:defRPr>
            </a:lvl9pPr>
          </a:lstStyle>
          <a:p>
            <a:pPr lvl="1"/>
            <a:r>
              <a:rPr lang="en-GB"/>
              <a:t>Author | Date | Place</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0" name="Textplatzhalter 9">
            <a:extLst>
              <a:ext uri="{FF2B5EF4-FFF2-40B4-BE49-F238E27FC236}">
                <a16:creationId xmlns:a16="http://schemas.microsoft.com/office/drawing/2014/main" id="{AE921565-1E3E-452A-AA35-0B82563DA29B}"/>
              </a:ext>
            </a:extLst>
          </p:cNvPr>
          <p:cNvSpPr>
            <a:spLocks noGrp="1"/>
          </p:cNvSpPr>
          <p:nvPr>
            <p:ph type="body" sz="quarter" idx="14" hasCustomPrompt="1"/>
          </p:nvPr>
        </p:nvSpPr>
        <p:spPr bwMode="gray">
          <a:xfrm>
            <a:off x="4295804" y="4437112"/>
            <a:ext cx="6553171" cy="485525"/>
          </a:xfrm>
        </p:spPr>
        <p:txBody>
          <a:bodyPr/>
          <a:lstStyle>
            <a:lvl1pPr marL="0" indent="0">
              <a:lnSpc>
                <a:spcPct val="100000"/>
              </a:lnSpc>
              <a:spcBef>
                <a:spcPts val="0"/>
              </a:spcBef>
              <a:spcAft>
                <a:spcPts val="0"/>
              </a:spcAft>
              <a:buFont typeface="Arial" panose="020B0604020202020204" pitchFamily="34" charset="0"/>
              <a:buNone/>
              <a:defRPr sz="18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r>
              <a:rPr lang="en-GB"/>
              <a:t>Optional Subheading in two lines.</a:t>
            </a:r>
          </a:p>
        </p:txBody>
      </p:sp>
      <p:sp>
        <p:nvSpPr>
          <p:cNvPr id="2" name="Titel 1"/>
          <p:cNvSpPr>
            <a:spLocks noGrp="1"/>
          </p:cNvSpPr>
          <p:nvPr>
            <p:ph type="ctrTitle" hasCustomPrompt="1"/>
          </p:nvPr>
        </p:nvSpPr>
        <p:spPr bwMode="gray">
          <a:xfrm>
            <a:off x="4295774" y="3278748"/>
            <a:ext cx="6553203" cy="944541"/>
          </a:xfrm>
        </p:spPr>
        <p:txBody>
          <a:bodyPr anchor="b"/>
          <a:lstStyle>
            <a:lvl1pPr algn="l">
              <a:defRPr sz="3200" b="1" i="0">
                <a:latin typeface="+mj-lt"/>
              </a:defRPr>
            </a:lvl1pPr>
          </a:lstStyle>
          <a:p>
            <a:r>
              <a:rPr lang="en-GB"/>
              <a:t>Heading </a:t>
            </a:r>
            <a:br>
              <a:rPr lang="en-GB"/>
            </a:br>
            <a:r>
              <a:rPr lang="en-GB"/>
              <a:t>in two lines. </a:t>
            </a:r>
          </a:p>
        </p:txBody>
      </p:sp>
      <p:pic>
        <p:nvPicPr>
          <p:cNvPr id="8" name="Grafik 7">
            <a:extLst>
              <a:ext uri="{FF2B5EF4-FFF2-40B4-BE49-F238E27FC236}">
                <a16:creationId xmlns:a16="http://schemas.microsoft.com/office/drawing/2014/main" id="{84A51C0F-C825-46BD-8991-2DAD91CD8FC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1703799" y="3057003"/>
            <a:ext cx="2592001" cy="864000"/>
          </a:xfrm>
          <a:prstGeom prst="rect">
            <a:avLst/>
          </a:prstGeom>
        </p:spPr>
      </p:pic>
      <p:sp>
        <p:nvSpPr>
          <p:cNvPr id="9" name="Freeform 5">
            <a:extLst>
              <a:ext uri="{FF2B5EF4-FFF2-40B4-BE49-F238E27FC236}">
                <a16:creationId xmlns:a16="http://schemas.microsoft.com/office/drawing/2014/main" id="{ABB02BD3-5987-4ED2-A37E-8BDCF08C1C13}"/>
              </a:ext>
            </a:extLst>
          </p:cNvPr>
          <p:cNvSpPr>
            <a:spLocks/>
          </p:cNvSpPr>
          <p:nvPr userDrawn="1">
            <p:custDataLst>
              <p:tags r:id="rId1"/>
            </p:custDataLst>
          </p:nvPr>
        </p:nvSpPr>
        <p:spPr bwMode="auto">
          <a:xfrm>
            <a:off x="0" y="0"/>
            <a:ext cx="12192000" cy="2170113"/>
          </a:xfrm>
          <a:custGeom>
            <a:avLst/>
            <a:gdLst>
              <a:gd name="T0" fmla="*/ 0 w 7680"/>
              <a:gd name="T1" fmla="*/ 1103 h 1367"/>
              <a:gd name="T2" fmla="*/ 7680 w 7680"/>
              <a:gd name="T3" fmla="*/ 1367 h 1367"/>
              <a:gd name="T4" fmla="*/ 7680 w 7680"/>
              <a:gd name="T5" fmla="*/ 1278 h 1367"/>
              <a:gd name="T6" fmla="*/ 2959 w 7680"/>
              <a:gd name="T7" fmla="*/ 0 h 1367"/>
              <a:gd name="T8" fmla="*/ 0 w 7680"/>
              <a:gd name="T9" fmla="*/ 0 h 1367"/>
              <a:gd name="T10" fmla="*/ 0 w 7680"/>
              <a:gd name="T11" fmla="*/ 1103 h 1367"/>
              <a:gd name="T12" fmla="*/ 0 w 7680"/>
              <a:gd name="T13" fmla="*/ 1103 h 1367"/>
              <a:gd name="T14" fmla="*/ 0 w 7680"/>
              <a:gd name="T15" fmla="*/ 1103 h 1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80" h="1367">
                <a:moveTo>
                  <a:pt x="0" y="1103"/>
                </a:moveTo>
                <a:lnTo>
                  <a:pt x="7680" y="1367"/>
                </a:lnTo>
                <a:lnTo>
                  <a:pt x="7680" y="1278"/>
                </a:lnTo>
                <a:lnTo>
                  <a:pt x="2959" y="0"/>
                </a:lnTo>
                <a:lnTo>
                  <a:pt x="0" y="0"/>
                </a:lnTo>
                <a:lnTo>
                  <a:pt x="0" y="1103"/>
                </a:lnTo>
                <a:lnTo>
                  <a:pt x="0" y="1103"/>
                </a:lnTo>
                <a:lnTo>
                  <a:pt x="0" y="1103"/>
                </a:lnTo>
                <a:close/>
              </a:path>
            </a:pathLst>
          </a:custGeom>
          <a:gradFill flip="none" rotWithShape="1">
            <a:gsLst>
              <a:gs pos="32000">
                <a:srgbClr val="FFDD00"/>
              </a:gs>
              <a:gs pos="52000">
                <a:srgbClr val="FFDD00">
                  <a:alpha val="86000"/>
                </a:srgbClr>
              </a:gs>
              <a:gs pos="76000">
                <a:srgbClr val="C8AB00">
                  <a:alpha val="17647"/>
                </a:srgbClr>
              </a:gs>
            </a:gsLst>
            <a:lin ang="0" scaled="0"/>
            <a:tileRect/>
          </a:gradFill>
          <a:ln w="21499" cap="flat">
            <a:noFill/>
            <a:prstDash val="solid"/>
            <a:miter/>
          </a:ln>
        </p:spPr>
        <p:txBody>
          <a:bodyPr rtlCol="0" anchor="ctr"/>
          <a:lstStyle/>
          <a:p>
            <a:endParaRPr lang="de-DE"/>
          </a:p>
        </p:txBody>
      </p:sp>
      <p:sp>
        <p:nvSpPr>
          <p:cNvPr id="10" name="Freeform 6">
            <a:extLst>
              <a:ext uri="{FF2B5EF4-FFF2-40B4-BE49-F238E27FC236}">
                <a16:creationId xmlns:a16="http://schemas.microsoft.com/office/drawing/2014/main" id="{D22B41E1-47F5-47CD-ADFF-60C25601EAF0}"/>
              </a:ext>
            </a:extLst>
          </p:cNvPr>
          <p:cNvSpPr>
            <a:spLocks/>
          </p:cNvSpPr>
          <p:nvPr userDrawn="1">
            <p:custDataLst>
              <p:tags r:id="rId2"/>
            </p:custDataLst>
          </p:nvPr>
        </p:nvSpPr>
        <p:spPr bwMode="auto">
          <a:xfrm>
            <a:off x="0" y="1238250"/>
            <a:ext cx="5505450" cy="1639888"/>
          </a:xfrm>
          <a:custGeom>
            <a:avLst/>
            <a:gdLst>
              <a:gd name="T0" fmla="*/ 0 w 3468"/>
              <a:gd name="T1" fmla="*/ 1033 h 1033"/>
              <a:gd name="T2" fmla="*/ 0 w 3468"/>
              <a:gd name="T3" fmla="*/ 0 h 1033"/>
              <a:gd name="T4" fmla="*/ 3468 w 3468"/>
              <a:gd name="T5" fmla="*/ 443 h 1033"/>
              <a:gd name="T6" fmla="*/ 0 w 3468"/>
              <a:gd name="T7" fmla="*/ 1033 h 1033"/>
              <a:gd name="T8" fmla="*/ 0 w 3468"/>
              <a:gd name="T9" fmla="*/ 1033 h 1033"/>
              <a:gd name="T10" fmla="*/ 0 w 3468"/>
              <a:gd name="T11" fmla="*/ 1033 h 1033"/>
            </a:gdLst>
            <a:ahLst/>
            <a:cxnLst>
              <a:cxn ang="0">
                <a:pos x="T0" y="T1"/>
              </a:cxn>
              <a:cxn ang="0">
                <a:pos x="T2" y="T3"/>
              </a:cxn>
              <a:cxn ang="0">
                <a:pos x="T4" y="T5"/>
              </a:cxn>
              <a:cxn ang="0">
                <a:pos x="T6" y="T7"/>
              </a:cxn>
              <a:cxn ang="0">
                <a:pos x="T8" y="T9"/>
              </a:cxn>
              <a:cxn ang="0">
                <a:pos x="T10" y="T11"/>
              </a:cxn>
            </a:cxnLst>
            <a:rect l="0" t="0" r="r" b="b"/>
            <a:pathLst>
              <a:path w="3468" h="1033">
                <a:moveTo>
                  <a:pt x="0" y="1033"/>
                </a:moveTo>
                <a:lnTo>
                  <a:pt x="0" y="0"/>
                </a:lnTo>
                <a:lnTo>
                  <a:pt x="3468" y="443"/>
                </a:lnTo>
                <a:lnTo>
                  <a:pt x="0" y="1033"/>
                </a:lnTo>
                <a:lnTo>
                  <a:pt x="0" y="1033"/>
                </a:lnTo>
                <a:lnTo>
                  <a:pt x="0" y="1033"/>
                </a:lnTo>
                <a:close/>
              </a:path>
            </a:pathLst>
          </a:custGeom>
          <a:gradFill flip="none" rotWithShape="1">
            <a:gsLst>
              <a:gs pos="69912">
                <a:srgbClr val="FEC802">
                  <a:alpha val="8000"/>
                </a:srgbClr>
              </a:gs>
              <a:gs pos="4000">
                <a:srgbClr val="FEC802">
                  <a:alpha val="37000"/>
                </a:srgbClr>
              </a:gs>
              <a:gs pos="44000">
                <a:srgbClr val="FEC802">
                  <a:alpha val="19000"/>
                </a:srgbClr>
              </a:gs>
            </a:gsLst>
            <a:lin ang="1800000" scaled="0"/>
            <a:tileRect/>
          </a:grad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11" name="Freeform 8">
            <a:extLst>
              <a:ext uri="{FF2B5EF4-FFF2-40B4-BE49-F238E27FC236}">
                <a16:creationId xmlns:a16="http://schemas.microsoft.com/office/drawing/2014/main" id="{1CB72069-C64D-4287-A8FA-C85328B89CF2}"/>
              </a:ext>
            </a:extLst>
          </p:cNvPr>
          <p:cNvSpPr>
            <a:spLocks/>
          </p:cNvSpPr>
          <p:nvPr userDrawn="1">
            <p:custDataLst>
              <p:tags r:id="rId3"/>
            </p:custDataLst>
          </p:nvPr>
        </p:nvSpPr>
        <p:spPr bwMode="auto">
          <a:xfrm>
            <a:off x="3605213" y="0"/>
            <a:ext cx="8586788" cy="3422650"/>
          </a:xfrm>
          <a:custGeom>
            <a:avLst/>
            <a:gdLst>
              <a:gd name="T0" fmla="*/ 711 w 5409"/>
              <a:gd name="T1" fmla="*/ 0 h 2156"/>
              <a:gd name="T2" fmla="*/ 5409 w 5409"/>
              <a:gd name="T3" fmla="*/ 1273 h 2156"/>
              <a:gd name="T4" fmla="*/ 5409 w 5409"/>
              <a:gd name="T5" fmla="*/ 2156 h 2156"/>
              <a:gd name="T6" fmla="*/ 5409 w 5409"/>
              <a:gd name="T7" fmla="*/ 2156 h 2156"/>
              <a:gd name="T8" fmla="*/ 5409 w 5409"/>
              <a:gd name="T9" fmla="*/ 2156 h 2156"/>
              <a:gd name="T10" fmla="*/ 0 w 5409"/>
              <a:gd name="T11" fmla="*/ 0 h 2156"/>
              <a:gd name="T12" fmla="*/ 711 w 5409"/>
              <a:gd name="T13" fmla="*/ 0 h 2156"/>
            </a:gdLst>
            <a:ahLst/>
            <a:cxnLst>
              <a:cxn ang="0">
                <a:pos x="T0" y="T1"/>
              </a:cxn>
              <a:cxn ang="0">
                <a:pos x="T2" y="T3"/>
              </a:cxn>
              <a:cxn ang="0">
                <a:pos x="T4" y="T5"/>
              </a:cxn>
              <a:cxn ang="0">
                <a:pos x="T6" y="T7"/>
              </a:cxn>
              <a:cxn ang="0">
                <a:pos x="T8" y="T9"/>
              </a:cxn>
              <a:cxn ang="0">
                <a:pos x="T10" y="T11"/>
              </a:cxn>
              <a:cxn ang="0">
                <a:pos x="T12" y="T13"/>
              </a:cxn>
            </a:cxnLst>
            <a:rect l="0" t="0" r="r" b="b"/>
            <a:pathLst>
              <a:path w="5409" h="2156">
                <a:moveTo>
                  <a:pt x="711" y="0"/>
                </a:moveTo>
                <a:lnTo>
                  <a:pt x="5409" y="1273"/>
                </a:lnTo>
                <a:lnTo>
                  <a:pt x="5409" y="2156"/>
                </a:lnTo>
                <a:lnTo>
                  <a:pt x="5409" y="2156"/>
                </a:lnTo>
                <a:lnTo>
                  <a:pt x="5409" y="2156"/>
                </a:lnTo>
                <a:lnTo>
                  <a:pt x="0" y="0"/>
                </a:lnTo>
                <a:lnTo>
                  <a:pt x="711" y="0"/>
                </a:lnTo>
                <a:close/>
              </a:path>
            </a:pathLst>
          </a:custGeom>
          <a:gradFill flip="none" rotWithShape="1">
            <a:gsLst>
              <a:gs pos="45122">
                <a:srgbClr val="75787A">
                  <a:alpha val="68000"/>
                </a:srgbClr>
              </a:gs>
              <a:gs pos="77000">
                <a:srgbClr val="404649">
                  <a:alpha val="57000"/>
                </a:srgbClr>
              </a:gs>
              <a:gs pos="8000">
                <a:srgbClr val="B2B2B2">
                  <a:alpha val="67000"/>
                </a:srgbClr>
              </a:gs>
            </a:gsLst>
            <a:lin ang="0" scaled="0"/>
            <a:tileRect/>
          </a:gradFill>
          <a:ln w="21499" cap="flat">
            <a:noFill/>
            <a:prstDash val="solid"/>
            <a:miter/>
          </a:ln>
        </p:spPr>
        <p:txBody>
          <a:bodyPr rtlCol="0" anchor="ctr"/>
          <a:lstStyle/>
          <a:p>
            <a:endParaRPr lang="de-DE"/>
          </a:p>
        </p:txBody>
      </p:sp>
      <p:sp>
        <p:nvSpPr>
          <p:cNvPr id="12" name="Freeform 7">
            <a:extLst>
              <a:ext uri="{FF2B5EF4-FFF2-40B4-BE49-F238E27FC236}">
                <a16:creationId xmlns:a16="http://schemas.microsoft.com/office/drawing/2014/main" id="{7CC38F64-9FDC-4E50-B1BA-1698CD3D1472}"/>
              </a:ext>
            </a:extLst>
          </p:cNvPr>
          <p:cNvSpPr>
            <a:spLocks/>
          </p:cNvSpPr>
          <p:nvPr userDrawn="1">
            <p:custDataLst>
              <p:tags r:id="rId4"/>
            </p:custDataLst>
          </p:nvPr>
        </p:nvSpPr>
        <p:spPr bwMode="auto">
          <a:xfrm>
            <a:off x="3289301" y="0"/>
            <a:ext cx="8902700" cy="2178050"/>
          </a:xfrm>
          <a:custGeom>
            <a:avLst/>
            <a:gdLst>
              <a:gd name="T0" fmla="*/ 5608 w 5608"/>
              <a:gd name="T1" fmla="*/ 1372 h 1372"/>
              <a:gd name="T2" fmla="*/ 0 w 5608"/>
              <a:gd name="T3" fmla="*/ 0 h 1372"/>
              <a:gd name="T4" fmla="*/ 5608 w 5608"/>
              <a:gd name="T5" fmla="*/ 0 h 1372"/>
              <a:gd name="T6" fmla="*/ 5608 w 5608"/>
              <a:gd name="T7" fmla="*/ 1372 h 1372"/>
              <a:gd name="T8" fmla="*/ 5608 w 5608"/>
              <a:gd name="T9" fmla="*/ 1372 h 1372"/>
              <a:gd name="T10" fmla="*/ 5608 w 5608"/>
              <a:gd name="T11" fmla="*/ 1372 h 1372"/>
            </a:gdLst>
            <a:ahLst/>
            <a:cxnLst>
              <a:cxn ang="0">
                <a:pos x="T0" y="T1"/>
              </a:cxn>
              <a:cxn ang="0">
                <a:pos x="T2" y="T3"/>
              </a:cxn>
              <a:cxn ang="0">
                <a:pos x="T4" y="T5"/>
              </a:cxn>
              <a:cxn ang="0">
                <a:pos x="T6" y="T7"/>
              </a:cxn>
              <a:cxn ang="0">
                <a:pos x="T8" y="T9"/>
              </a:cxn>
              <a:cxn ang="0">
                <a:pos x="T10" y="T11"/>
              </a:cxn>
            </a:cxnLst>
            <a:rect l="0" t="0" r="r" b="b"/>
            <a:pathLst>
              <a:path w="5608" h="1372">
                <a:moveTo>
                  <a:pt x="5608" y="1372"/>
                </a:moveTo>
                <a:lnTo>
                  <a:pt x="0" y="0"/>
                </a:lnTo>
                <a:lnTo>
                  <a:pt x="5608" y="0"/>
                </a:lnTo>
                <a:lnTo>
                  <a:pt x="5608" y="1372"/>
                </a:lnTo>
                <a:lnTo>
                  <a:pt x="5608" y="1372"/>
                </a:lnTo>
                <a:lnTo>
                  <a:pt x="5608" y="1372"/>
                </a:lnTo>
                <a:close/>
              </a:path>
            </a:pathLst>
          </a:custGeom>
          <a:solidFill>
            <a:srgbClr val="404649">
              <a:alpha val="74000"/>
            </a:srgbClr>
          </a:solidFill>
          <a:ln w="21499" cap="flat">
            <a:noFill/>
            <a:prstDash val="solid"/>
            <a:miter/>
          </a:ln>
        </p:spPr>
        <p:txBody>
          <a:bodyPr rtlCol="0" anchor="ctr"/>
          <a:lstStyle/>
          <a:p>
            <a:endParaRPr lang="de-DE"/>
          </a:p>
        </p:txBody>
      </p:sp>
    </p:spTree>
    <p:extLst>
      <p:ext uri="{BB962C8B-B14F-4D97-AF65-F5344CB8AC3E}">
        <p14:creationId xmlns:p14="http://schemas.microsoft.com/office/powerpoint/2010/main" val="4021512648"/>
      </p:ext>
    </p:extLst>
  </p:cSld>
  <p:clrMapOvr>
    <a:masterClrMapping/>
  </p:clrMapOvr>
  <p:extLst>
    <p:ext uri="{DCECCB84-F9BA-43D5-87BE-67443E8EF086}">
      <p15:sldGuideLst xmlns:p15="http://schemas.microsoft.com/office/powerpoint/2012/main">
        <p15:guide id="1" pos="2706" userDrawn="1">
          <p15:clr>
            <a:srgbClr val="5ACBF0"/>
          </p15:clr>
        </p15:guide>
        <p15:guide id="2" pos="6834"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I Dark grey background">
    <p:bg bwMode="ltGray">
      <p:bgPr>
        <a:solidFill>
          <a:srgbClr val="575756"/>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8C0CBC42-578D-495F-823D-9C04DC125120}"/>
              </a:ext>
            </a:extLst>
          </p:cNvPr>
          <p:cNvSpPr/>
          <p:nvPr userDrawn="1"/>
        </p:nvSpPr>
        <p:spPr bwMode="ltGray">
          <a:xfrm>
            <a:off x="11164370" y="260648"/>
            <a:ext cx="836286" cy="202265"/>
          </a:xfrm>
          <a:prstGeom prst="rect">
            <a:avLst/>
          </a:prstGeom>
          <a:solidFill>
            <a:srgbClr val="57575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err="1">
              <a:solidFill>
                <a:schemeClr val="tx1"/>
              </a:solidFill>
            </a:endParaRPr>
          </a:p>
        </p:txBody>
      </p:sp>
      <p:sp>
        <p:nvSpPr>
          <p:cNvPr id="35" name="Textplatzhalter 45">
            <a:extLst>
              <a:ext uri="{FF2B5EF4-FFF2-40B4-BE49-F238E27FC236}">
                <a16:creationId xmlns:a16="http://schemas.microsoft.com/office/drawing/2014/main" id="{EA37346A-E1CC-49FC-9DC3-8F42464CCFA0}"/>
              </a:ext>
            </a:extLst>
          </p:cNvPr>
          <p:cNvSpPr txBox="1">
            <a:spLocks/>
          </p:cNvSpPr>
          <p:nvPr userDrawn="1"/>
        </p:nvSpPr>
        <p:spPr bwMode="gray">
          <a:xfrm>
            <a:off x="11208568" y="311701"/>
            <a:ext cx="720080" cy="12013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
        <p:nvSpPr>
          <p:cNvPr id="12" name="Fußzeilenplatzhalter 5">
            <a:extLst>
              <a:ext uri="{FF2B5EF4-FFF2-40B4-BE49-F238E27FC236}">
                <a16:creationId xmlns:a16="http://schemas.microsoft.com/office/drawing/2014/main" id="{D8EB16C9-EA0B-4F3F-9594-3CC7EBDF686E}"/>
              </a:ext>
            </a:extLst>
          </p:cNvPr>
          <p:cNvSpPr>
            <a:spLocks noGrp="1"/>
          </p:cNvSpPr>
          <p:nvPr>
            <p:ph type="ftr" sz="quarter" idx="11"/>
          </p:nvPr>
        </p:nvSpPr>
        <p:spPr bwMode="gray">
          <a:xfrm>
            <a:off x="8831966" y="304475"/>
            <a:ext cx="1801058" cy="144000"/>
          </a:xfrm>
        </p:spPr>
        <p:txBody>
          <a:bodyPr/>
          <a:lstStyle>
            <a:lvl1pPr>
              <a:defRPr>
                <a:solidFill>
                  <a:schemeClr val="bg1"/>
                </a:solidFill>
              </a:defRPr>
            </a:lvl1pPr>
          </a:lstStyle>
          <a:p>
            <a:r>
              <a:rPr lang="en-GB"/>
              <a:t>Green Gantry</a:t>
            </a:r>
            <a:endParaRPr lang="en-GB" i="1"/>
          </a:p>
        </p:txBody>
      </p:sp>
      <p:sp>
        <p:nvSpPr>
          <p:cNvPr id="13" name="Foliennummernplatzhalter 6">
            <a:extLst>
              <a:ext uri="{FF2B5EF4-FFF2-40B4-BE49-F238E27FC236}">
                <a16:creationId xmlns:a16="http://schemas.microsoft.com/office/drawing/2014/main" id="{5A2B5D64-02D6-4BBF-A4FD-42AD36B29405}"/>
              </a:ext>
            </a:extLst>
          </p:cNvPr>
          <p:cNvSpPr>
            <a:spLocks noGrp="1"/>
          </p:cNvSpPr>
          <p:nvPr>
            <p:ph type="sldNum" sz="quarter" idx="12"/>
          </p:nvPr>
        </p:nvSpPr>
        <p:spPr bwMode="gray">
          <a:xfrm>
            <a:off x="10777040" y="304475"/>
            <a:ext cx="287512" cy="144000"/>
          </a:xfrm>
        </p:spPr>
        <p:txBody>
          <a:bodyPr/>
          <a:lstStyle>
            <a:lvl1pPr>
              <a:defRPr>
                <a:solidFill>
                  <a:schemeClr val="bg1"/>
                </a:solidFill>
              </a:defRPr>
            </a:lvl1pPr>
          </a:lstStyle>
          <a:p>
            <a:fld id="{8FF9B0DE-3FEB-4AA0-B465-B80EF7C1333D}" type="slidenum">
              <a:rPr lang="en-GB" smtClean="0"/>
              <a:pPr/>
              <a:t>‹Nr.›</a:t>
            </a:fld>
            <a:endParaRPr lang="en-GB"/>
          </a:p>
        </p:txBody>
      </p:sp>
      <p:cxnSp>
        <p:nvCxnSpPr>
          <p:cNvPr id="14" name="Gerader Verbinder 13">
            <a:extLst>
              <a:ext uri="{FF2B5EF4-FFF2-40B4-BE49-F238E27FC236}">
                <a16:creationId xmlns:a16="http://schemas.microsoft.com/office/drawing/2014/main" id="{AE503425-7F10-439B-988B-DDEE0CEC1F5D}"/>
              </a:ext>
            </a:extLst>
          </p:cNvPr>
          <p:cNvCxnSpPr>
            <a:cxnSpLocks/>
          </p:cNvCxnSpPr>
          <p:nvPr userDrawn="1"/>
        </p:nvCxnSpPr>
        <p:spPr bwMode="gray">
          <a:xfrm>
            <a:off x="11136560" y="0"/>
            <a:ext cx="0" cy="462913"/>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6595692-0001-42BE-9059-19018FB52CF5}"/>
              </a:ext>
            </a:extLst>
          </p:cNvPr>
          <p:cNvCxnSpPr>
            <a:cxnSpLocks/>
          </p:cNvCxnSpPr>
          <p:nvPr userDrawn="1"/>
        </p:nvCxnSpPr>
        <p:spPr bwMode="gray">
          <a:xfrm>
            <a:off x="10705032" y="304974"/>
            <a:ext cx="0" cy="157939"/>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EEE39DA0-3248-4832-844A-F7B5610544DA}"/>
              </a:ext>
            </a:extLst>
          </p:cNvPr>
          <p:cNvSpPr txBox="1"/>
          <p:nvPr userDrawn="1"/>
        </p:nvSpPr>
        <p:spPr bwMode="gray">
          <a:xfrm>
            <a:off x="-2001280" y="188640"/>
            <a:ext cx="1801058" cy="1785104"/>
          </a:xfrm>
          <a:prstGeom prst="rect">
            <a:avLst/>
          </a:prstGeom>
          <a:noFill/>
        </p:spPr>
        <p:txBody>
          <a:bodyPr wrap="square">
            <a:spAutoFit/>
          </a:bodyPr>
          <a:lstStyle/>
          <a:p>
            <a:pPr algn="r">
              <a:spcAft>
                <a:spcPts val="400"/>
              </a:spcAft>
            </a:pPr>
            <a:r>
              <a:rPr lang="en-US" sz="1000" b="0" i="0">
                <a:solidFill>
                  <a:schemeClr val="tx1"/>
                </a:solidFill>
                <a:effectLst/>
              </a:rPr>
              <a:t>This layout offers the maximum amount of space you can design yourself. Most of the slides in the slide library are based on this type of layout. Screenshots, images, texts etc. can be set as desired. If you reset the slide, no unwanted changes will occur to the content.</a:t>
            </a:r>
            <a:endParaRPr lang="en-GB" sz="1000" b="0" i="0">
              <a:solidFill>
                <a:schemeClr val="tx1"/>
              </a:solidFill>
              <a:effectLst/>
            </a:endParaRPr>
          </a:p>
        </p:txBody>
      </p:sp>
    </p:spTree>
    <p:extLst>
      <p:ext uri="{BB962C8B-B14F-4D97-AF65-F5344CB8AC3E}">
        <p14:creationId xmlns:p14="http://schemas.microsoft.com/office/powerpoint/2010/main" val="654849588"/>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I Yellow background">
    <p:bg>
      <p:bgPr>
        <a:solidFill>
          <a:schemeClr val="bg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8C9BC4-55C0-46A2-8E55-48D296735C6A}"/>
              </a:ext>
            </a:extLst>
          </p:cNvPr>
          <p:cNvSpPr/>
          <p:nvPr userDrawn="1"/>
        </p:nvSpPr>
        <p:spPr bwMode="white">
          <a:xfrm>
            <a:off x="11164370" y="260648"/>
            <a:ext cx="836286" cy="202265"/>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err="1">
              <a:solidFill>
                <a:schemeClr val="tx1"/>
              </a:solidFill>
            </a:endParaRPr>
          </a:p>
        </p:txBody>
      </p:sp>
      <p:sp>
        <p:nvSpPr>
          <p:cNvPr id="12" name="Fußzeilenplatzhalter 5">
            <a:extLst>
              <a:ext uri="{FF2B5EF4-FFF2-40B4-BE49-F238E27FC236}">
                <a16:creationId xmlns:a16="http://schemas.microsoft.com/office/drawing/2014/main" id="{D8EB16C9-EA0B-4F3F-9594-3CC7EBDF686E}"/>
              </a:ext>
            </a:extLst>
          </p:cNvPr>
          <p:cNvSpPr>
            <a:spLocks noGrp="1"/>
          </p:cNvSpPr>
          <p:nvPr>
            <p:ph type="ftr" sz="quarter" idx="11"/>
          </p:nvPr>
        </p:nvSpPr>
        <p:spPr bwMode="gray">
          <a:xfrm>
            <a:off x="8831966" y="304475"/>
            <a:ext cx="1801058" cy="144000"/>
          </a:xfrm>
        </p:spPr>
        <p:txBody>
          <a:bodyPr/>
          <a:lstStyle>
            <a:lvl1pPr>
              <a:defRPr>
                <a:solidFill>
                  <a:schemeClr val="tx1"/>
                </a:solidFill>
              </a:defRPr>
            </a:lvl1pPr>
          </a:lstStyle>
          <a:p>
            <a:r>
              <a:rPr lang="en-GB"/>
              <a:t>Green Gantry</a:t>
            </a:r>
          </a:p>
        </p:txBody>
      </p:sp>
      <p:sp>
        <p:nvSpPr>
          <p:cNvPr id="13" name="Foliennummernplatzhalter 6">
            <a:extLst>
              <a:ext uri="{FF2B5EF4-FFF2-40B4-BE49-F238E27FC236}">
                <a16:creationId xmlns:a16="http://schemas.microsoft.com/office/drawing/2014/main" id="{5A2B5D64-02D6-4BBF-A4FD-42AD36B29405}"/>
              </a:ext>
            </a:extLst>
          </p:cNvPr>
          <p:cNvSpPr>
            <a:spLocks noGrp="1"/>
          </p:cNvSpPr>
          <p:nvPr>
            <p:ph type="sldNum" sz="quarter" idx="12"/>
          </p:nvPr>
        </p:nvSpPr>
        <p:spPr bwMode="gray">
          <a:xfrm>
            <a:off x="10777040" y="304475"/>
            <a:ext cx="287512" cy="144000"/>
          </a:xfrm>
        </p:spPr>
        <p:txBody>
          <a:bodyPr/>
          <a:lstStyle>
            <a:lvl1pPr>
              <a:defRPr>
                <a:solidFill>
                  <a:schemeClr val="tx1"/>
                </a:solidFill>
              </a:defRPr>
            </a:lvl1pPr>
          </a:lstStyle>
          <a:p>
            <a:fld id="{8FF9B0DE-3FEB-4AA0-B465-B80EF7C1333D}" type="slidenum">
              <a:rPr lang="en-GB" smtClean="0"/>
              <a:pPr/>
              <a:t>‹Nr.›</a:t>
            </a:fld>
            <a:endParaRPr lang="en-GB"/>
          </a:p>
        </p:txBody>
      </p:sp>
      <p:cxnSp>
        <p:nvCxnSpPr>
          <p:cNvPr id="14" name="Gerader Verbinder 13">
            <a:extLst>
              <a:ext uri="{FF2B5EF4-FFF2-40B4-BE49-F238E27FC236}">
                <a16:creationId xmlns:a16="http://schemas.microsoft.com/office/drawing/2014/main" id="{AE503425-7F10-439B-988B-DDEE0CEC1F5D}"/>
              </a:ext>
            </a:extLst>
          </p:cNvPr>
          <p:cNvCxnSpPr>
            <a:cxnSpLocks/>
          </p:cNvCxnSpPr>
          <p:nvPr userDrawn="1"/>
        </p:nvCxnSpPr>
        <p:spPr bwMode="gray">
          <a:xfrm>
            <a:off x="11136560" y="0"/>
            <a:ext cx="0" cy="462913"/>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6595692-0001-42BE-9059-19018FB52CF5}"/>
              </a:ext>
            </a:extLst>
          </p:cNvPr>
          <p:cNvCxnSpPr>
            <a:cxnSpLocks/>
          </p:cNvCxnSpPr>
          <p:nvPr userDrawn="1"/>
        </p:nvCxnSpPr>
        <p:spPr bwMode="gray">
          <a:xfrm>
            <a:off x="10705032" y="304974"/>
            <a:ext cx="0" cy="157939"/>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EEE39DA0-3248-4832-844A-F7B5610544DA}"/>
              </a:ext>
            </a:extLst>
          </p:cNvPr>
          <p:cNvSpPr txBox="1"/>
          <p:nvPr userDrawn="1"/>
        </p:nvSpPr>
        <p:spPr bwMode="gray">
          <a:xfrm>
            <a:off x="-2001280" y="188640"/>
            <a:ext cx="1801058" cy="1785104"/>
          </a:xfrm>
          <a:prstGeom prst="rect">
            <a:avLst/>
          </a:prstGeom>
          <a:noFill/>
        </p:spPr>
        <p:txBody>
          <a:bodyPr wrap="square">
            <a:spAutoFit/>
          </a:bodyPr>
          <a:lstStyle/>
          <a:p>
            <a:pPr algn="r">
              <a:spcAft>
                <a:spcPts val="400"/>
              </a:spcAft>
            </a:pPr>
            <a:r>
              <a:rPr lang="en-US" sz="1000" b="0" i="0">
                <a:solidFill>
                  <a:schemeClr val="tx1"/>
                </a:solidFill>
                <a:effectLst/>
              </a:rPr>
              <a:t>This layout offers the maximum amount of space you can design yourself. Most of the slides in the slide library are based on this type of layout. Screenshots, images, texts etc. can be set as desired. If you reset the slide, no unwanted changes will occur to the content.</a:t>
            </a:r>
            <a:endParaRPr lang="en-GB" sz="1000" b="0" i="0">
              <a:solidFill>
                <a:schemeClr val="tx1"/>
              </a:solidFill>
              <a:effectLst/>
            </a:endParaRPr>
          </a:p>
        </p:txBody>
      </p:sp>
      <p:pic>
        <p:nvPicPr>
          <p:cNvPr id="11" name="Grafik 10">
            <a:extLst>
              <a:ext uri="{FF2B5EF4-FFF2-40B4-BE49-F238E27FC236}">
                <a16:creationId xmlns:a16="http://schemas.microsoft.com/office/drawing/2014/main" id="{4BDBA074-70C0-41D2-A3F0-BBD98EFB3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8568" y="311701"/>
            <a:ext cx="720080" cy="120440"/>
          </a:xfrm>
          <a:prstGeom prst="rect">
            <a:avLst/>
          </a:prstGeom>
        </p:spPr>
      </p:pic>
    </p:spTree>
    <p:extLst>
      <p:ext uri="{BB962C8B-B14F-4D97-AF65-F5344CB8AC3E}">
        <p14:creationId xmlns:p14="http://schemas.microsoft.com/office/powerpoint/2010/main" val="210315986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utro Animation">
    <p:spTree>
      <p:nvGrpSpPr>
        <p:cNvPr id="1" name=""/>
        <p:cNvGrpSpPr/>
        <p:nvPr/>
      </p:nvGrpSpPr>
      <p:grpSpPr>
        <a:xfrm>
          <a:off x="0" y="0"/>
          <a:ext cx="0" cy="0"/>
          <a:chOff x="0" y="0"/>
          <a:chExt cx="0" cy="0"/>
        </a:xfrm>
      </p:grpSpPr>
      <p:grpSp>
        <p:nvGrpSpPr>
          <p:cNvPr id="30" name="Gruppieren 29">
            <a:extLst>
              <a:ext uri="{FF2B5EF4-FFF2-40B4-BE49-F238E27FC236}">
                <a16:creationId xmlns:a16="http://schemas.microsoft.com/office/drawing/2014/main" id="{50A5710D-BEC0-4122-A3A0-435EF938352A}"/>
              </a:ext>
            </a:extLst>
          </p:cNvPr>
          <p:cNvGrpSpPr/>
          <p:nvPr userDrawn="1">
            <p:custDataLst>
              <p:tags r:id="rId1"/>
            </p:custDataLst>
          </p:nvPr>
        </p:nvGrpSpPr>
        <p:grpSpPr bwMode="gray">
          <a:xfrm>
            <a:off x="1415480" y="1185898"/>
            <a:ext cx="3347879" cy="662396"/>
            <a:chOff x="4199062" y="4723451"/>
            <a:chExt cx="4633488" cy="916760"/>
          </a:xfrm>
        </p:grpSpPr>
        <p:sp>
          <p:nvSpPr>
            <p:cNvPr id="31" name="Freihandform: Form 30">
              <a:extLst>
                <a:ext uri="{FF2B5EF4-FFF2-40B4-BE49-F238E27FC236}">
                  <a16:creationId xmlns:a16="http://schemas.microsoft.com/office/drawing/2014/main" id="{84837180-9411-4BB5-8A81-DD1417AD76EE}"/>
                </a:ext>
              </a:extLst>
            </p:cNvPr>
            <p:cNvSpPr/>
            <p:nvPr/>
          </p:nvSpPr>
          <p:spPr bwMode="gray">
            <a:xfrm>
              <a:off x="4199062" y="4723451"/>
              <a:ext cx="964015" cy="765541"/>
            </a:xfrm>
            <a:custGeom>
              <a:avLst/>
              <a:gdLst>
                <a:gd name="connsiteX0" fmla="*/ 307162 w 964015"/>
                <a:gd name="connsiteY0" fmla="*/ 0 h 765541"/>
                <a:gd name="connsiteX1" fmla="*/ 0 w 964015"/>
                <a:gd name="connsiteY1" fmla="*/ 765542 h 765541"/>
                <a:gd name="connsiteX2" fmla="*/ 179572 w 964015"/>
                <a:gd name="connsiteY2" fmla="*/ 765542 h 765541"/>
                <a:gd name="connsiteX3" fmla="*/ 255181 w 964015"/>
                <a:gd name="connsiteY3" fmla="*/ 581245 h 765541"/>
                <a:gd name="connsiteX4" fmla="*/ 307162 w 964015"/>
                <a:gd name="connsiteY4" fmla="*/ 543440 h 765541"/>
                <a:gd name="connsiteX5" fmla="*/ 505636 w 964015"/>
                <a:gd name="connsiteY5" fmla="*/ 765542 h 765541"/>
                <a:gd name="connsiteX6" fmla="*/ 756091 w 964015"/>
                <a:gd name="connsiteY6" fmla="*/ 765542 h 765541"/>
                <a:gd name="connsiteX7" fmla="*/ 453654 w 964015"/>
                <a:gd name="connsiteY7" fmla="*/ 458380 h 765541"/>
                <a:gd name="connsiteX8" fmla="*/ 964016 w 964015"/>
                <a:gd name="connsiteY8" fmla="*/ 146493 h 765541"/>
                <a:gd name="connsiteX9" fmla="*/ 699384 w 964015"/>
                <a:gd name="connsiteY9" fmla="*/ 146493 h 765541"/>
                <a:gd name="connsiteX10" fmla="*/ 335515 w 964015"/>
                <a:gd name="connsiteY10" fmla="*/ 387496 h 765541"/>
                <a:gd name="connsiteX11" fmla="*/ 491459 w 964015"/>
                <a:gd name="connsiteY11" fmla="*/ 0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4015" h="765541">
                  <a:moveTo>
                    <a:pt x="307162" y="0"/>
                  </a:moveTo>
                  <a:lnTo>
                    <a:pt x="0" y="765542"/>
                  </a:lnTo>
                  <a:lnTo>
                    <a:pt x="179572" y="765542"/>
                  </a:lnTo>
                  <a:lnTo>
                    <a:pt x="255181" y="581245"/>
                  </a:lnTo>
                  <a:lnTo>
                    <a:pt x="307162" y="543440"/>
                  </a:lnTo>
                  <a:lnTo>
                    <a:pt x="505636" y="765542"/>
                  </a:lnTo>
                  <a:lnTo>
                    <a:pt x="756091" y="765542"/>
                  </a:lnTo>
                  <a:lnTo>
                    <a:pt x="453654" y="458380"/>
                  </a:lnTo>
                  <a:lnTo>
                    <a:pt x="964016" y="146493"/>
                  </a:lnTo>
                  <a:lnTo>
                    <a:pt x="699384" y="146493"/>
                  </a:lnTo>
                  <a:lnTo>
                    <a:pt x="335515" y="387496"/>
                  </a:lnTo>
                  <a:lnTo>
                    <a:pt x="491459" y="0"/>
                  </a:lnTo>
                  <a:close/>
                </a:path>
              </a:pathLst>
            </a:custGeom>
            <a:solidFill>
              <a:srgbClr val="000000"/>
            </a:solidFill>
            <a:ln w="47234" cap="flat">
              <a:noFill/>
              <a:prstDash val="solid"/>
              <a:miter/>
            </a:ln>
          </p:spPr>
          <p:txBody>
            <a:bodyPr rtlCol="0" anchor="ctr"/>
            <a:lstStyle/>
            <a:p>
              <a:endParaRPr lang="de-AT"/>
            </a:p>
          </p:txBody>
        </p:sp>
        <p:sp>
          <p:nvSpPr>
            <p:cNvPr id="32" name="Freihandform: Form 31">
              <a:extLst>
                <a:ext uri="{FF2B5EF4-FFF2-40B4-BE49-F238E27FC236}">
                  <a16:creationId xmlns:a16="http://schemas.microsoft.com/office/drawing/2014/main" id="{F8D6B88E-945D-40BB-AA37-5BBF30F3A42C}"/>
                </a:ext>
              </a:extLst>
            </p:cNvPr>
            <p:cNvSpPr/>
            <p:nvPr/>
          </p:nvSpPr>
          <p:spPr bwMode="gray">
            <a:xfrm>
              <a:off x="5028329" y="4874670"/>
              <a:ext cx="812937" cy="619049"/>
            </a:xfrm>
            <a:custGeom>
              <a:avLst/>
              <a:gdLst>
                <a:gd name="connsiteX0" fmla="*/ 484441 w 812937"/>
                <a:gd name="connsiteY0" fmla="*/ 477282 h 619049"/>
                <a:gd name="connsiteX1" fmla="*/ 186730 w 812937"/>
                <a:gd name="connsiteY1" fmla="*/ 477282 h 619049"/>
                <a:gd name="connsiteX2" fmla="*/ 224534 w 812937"/>
                <a:gd name="connsiteY2" fmla="*/ 378045 h 619049"/>
                <a:gd name="connsiteX3" fmla="*/ 522245 w 812937"/>
                <a:gd name="connsiteY3" fmla="*/ 378045 h 619049"/>
                <a:gd name="connsiteX4" fmla="*/ 484441 w 812937"/>
                <a:gd name="connsiteY4" fmla="*/ 477282 h 619049"/>
                <a:gd name="connsiteX5" fmla="*/ 801053 w 812937"/>
                <a:gd name="connsiteY5" fmla="*/ 42530 h 619049"/>
                <a:gd name="connsiteX6" fmla="*/ 687640 w 812937"/>
                <a:gd name="connsiteY6" fmla="*/ 0 h 619049"/>
                <a:gd name="connsiteX7" fmla="*/ 200907 w 812937"/>
                <a:gd name="connsiteY7" fmla="*/ 0 h 619049"/>
                <a:gd name="connsiteX8" fmla="*/ 144200 w 812937"/>
                <a:gd name="connsiteY8" fmla="*/ 141767 h 619049"/>
                <a:gd name="connsiteX9" fmla="*/ 621482 w 812937"/>
                <a:gd name="connsiteY9" fmla="*/ 141767 h 619049"/>
                <a:gd name="connsiteX10" fmla="*/ 583677 w 812937"/>
                <a:gd name="connsiteY10" fmla="*/ 241004 h 619049"/>
                <a:gd name="connsiteX11" fmla="*/ 271790 w 812937"/>
                <a:gd name="connsiteY11" fmla="*/ 241004 h 619049"/>
                <a:gd name="connsiteX12" fmla="*/ 54414 w 812937"/>
                <a:gd name="connsiteY12" fmla="*/ 368594 h 619049"/>
                <a:gd name="connsiteX13" fmla="*/ 7158 w 812937"/>
                <a:gd name="connsiteY13" fmla="*/ 486733 h 619049"/>
                <a:gd name="connsiteX14" fmla="*/ 11884 w 812937"/>
                <a:gd name="connsiteY14" fmla="*/ 576519 h 619049"/>
                <a:gd name="connsiteX15" fmla="*/ 125297 w 812937"/>
                <a:gd name="connsiteY15" fmla="*/ 619049 h 619049"/>
                <a:gd name="connsiteX16" fmla="*/ 607305 w 812937"/>
                <a:gd name="connsiteY16" fmla="*/ 619049 h 619049"/>
                <a:gd name="connsiteX17" fmla="*/ 805779 w 812937"/>
                <a:gd name="connsiteY17" fmla="*/ 132316 h 619049"/>
                <a:gd name="connsiteX18" fmla="*/ 801053 w 812937"/>
                <a:gd name="connsiteY18" fmla="*/ 42530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2937" h="619049">
                  <a:moveTo>
                    <a:pt x="484441" y="477282"/>
                  </a:moveTo>
                  <a:lnTo>
                    <a:pt x="186730" y="477282"/>
                  </a:lnTo>
                  <a:lnTo>
                    <a:pt x="224534" y="378045"/>
                  </a:lnTo>
                  <a:lnTo>
                    <a:pt x="522245" y="378045"/>
                  </a:lnTo>
                  <a:lnTo>
                    <a:pt x="484441" y="477282"/>
                  </a:lnTo>
                  <a:close/>
                  <a:moveTo>
                    <a:pt x="801053" y="42530"/>
                  </a:moveTo>
                  <a:cubicBezTo>
                    <a:pt x="782151" y="14177"/>
                    <a:pt x="744347" y="0"/>
                    <a:pt x="687640" y="0"/>
                  </a:cubicBezTo>
                  <a:lnTo>
                    <a:pt x="200907" y="0"/>
                  </a:lnTo>
                  <a:lnTo>
                    <a:pt x="144200" y="141767"/>
                  </a:lnTo>
                  <a:lnTo>
                    <a:pt x="621482" y="141767"/>
                  </a:lnTo>
                  <a:lnTo>
                    <a:pt x="583677" y="241004"/>
                  </a:lnTo>
                  <a:lnTo>
                    <a:pt x="271790" y="241004"/>
                  </a:lnTo>
                  <a:cubicBezTo>
                    <a:pt x="106395" y="241004"/>
                    <a:pt x="54414" y="363869"/>
                    <a:pt x="54414" y="368594"/>
                  </a:cubicBezTo>
                  <a:lnTo>
                    <a:pt x="7158" y="486733"/>
                  </a:lnTo>
                  <a:cubicBezTo>
                    <a:pt x="7158" y="486733"/>
                    <a:pt x="-11744" y="538715"/>
                    <a:pt x="11884" y="576519"/>
                  </a:cubicBezTo>
                  <a:cubicBezTo>
                    <a:pt x="30786" y="604872"/>
                    <a:pt x="68591" y="619049"/>
                    <a:pt x="125297" y="619049"/>
                  </a:cubicBezTo>
                  <a:lnTo>
                    <a:pt x="607305" y="619049"/>
                  </a:lnTo>
                  <a:lnTo>
                    <a:pt x="805779" y="132316"/>
                  </a:lnTo>
                  <a:cubicBezTo>
                    <a:pt x="805779" y="127590"/>
                    <a:pt x="824681" y="80335"/>
                    <a:pt x="801053" y="42530"/>
                  </a:cubicBezTo>
                </a:path>
              </a:pathLst>
            </a:custGeom>
            <a:solidFill>
              <a:srgbClr val="000000"/>
            </a:solidFill>
            <a:ln w="47234" cap="flat">
              <a:noFill/>
              <a:prstDash val="solid"/>
              <a:miter/>
            </a:ln>
          </p:spPr>
          <p:txBody>
            <a:bodyPr rtlCol="0" anchor="ctr"/>
            <a:lstStyle/>
            <a:p>
              <a:endParaRPr lang="de-AT"/>
            </a:p>
          </p:txBody>
        </p:sp>
        <p:sp>
          <p:nvSpPr>
            <p:cNvPr id="33" name="Freihandform: Form 32">
              <a:extLst>
                <a:ext uri="{FF2B5EF4-FFF2-40B4-BE49-F238E27FC236}">
                  <a16:creationId xmlns:a16="http://schemas.microsoft.com/office/drawing/2014/main" id="{D9C5B8FE-2A9D-4574-A076-20C370217604}"/>
                </a:ext>
              </a:extLst>
            </p:cNvPr>
            <p:cNvSpPr/>
            <p:nvPr/>
          </p:nvSpPr>
          <p:spPr bwMode="gray">
            <a:xfrm>
              <a:off x="5701793" y="4874670"/>
              <a:ext cx="923918" cy="765541"/>
            </a:xfrm>
            <a:custGeom>
              <a:avLst/>
              <a:gdLst>
                <a:gd name="connsiteX0" fmla="*/ 595421 w 923918"/>
                <a:gd name="connsiteY0" fmla="*/ 477282 h 765541"/>
                <a:gd name="connsiteX1" fmla="*/ 297711 w 923918"/>
                <a:gd name="connsiteY1" fmla="*/ 477282 h 765541"/>
                <a:gd name="connsiteX2" fmla="*/ 434752 w 923918"/>
                <a:gd name="connsiteY2" fmla="*/ 137041 h 765541"/>
                <a:gd name="connsiteX3" fmla="*/ 732463 w 923918"/>
                <a:gd name="connsiteY3" fmla="*/ 137041 h 765541"/>
                <a:gd name="connsiteX4" fmla="*/ 595421 w 923918"/>
                <a:gd name="connsiteY4" fmla="*/ 477282 h 765541"/>
                <a:gd name="connsiteX5" fmla="*/ 912034 w 923918"/>
                <a:gd name="connsiteY5" fmla="*/ 42530 h 765541"/>
                <a:gd name="connsiteX6" fmla="*/ 798621 w 923918"/>
                <a:gd name="connsiteY6" fmla="*/ 0 h 765541"/>
                <a:gd name="connsiteX7" fmla="*/ 311887 w 923918"/>
                <a:gd name="connsiteY7" fmla="*/ 0 h 765541"/>
                <a:gd name="connsiteX8" fmla="*/ 0 w 923918"/>
                <a:gd name="connsiteY8" fmla="*/ 765542 h 765541"/>
                <a:gd name="connsiteX9" fmla="*/ 179572 w 923918"/>
                <a:gd name="connsiteY9" fmla="*/ 765542 h 765541"/>
                <a:gd name="connsiteX10" fmla="*/ 241004 w 923918"/>
                <a:gd name="connsiteY10" fmla="*/ 619049 h 765541"/>
                <a:gd name="connsiteX11" fmla="*/ 552891 w 923918"/>
                <a:gd name="connsiteY11" fmla="*/ 619049 h 765541"/>
                <a:gd name="connsiteX12" fmla="*/ 770267 w 923918"/>
                <a:gd name="connsiteY12" fmla="*/ 491459 h 765541"/>
                <a:gd name="connsiteX13" fmla="*/ 916760 w 923918"/>
                <a:gd name="connsiteY13" fmla="*/ 132316 h 765541"/>
                <a:gd name="connsiteX14" fmla="*/ 912034 w 923918"/>
                <a:gd name="connsiteY14" fmla="*/ 42530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3918" h="765541">
                  <a:moveTo>
                    <a:pt x="595421" y="477282"/>
                  </a:moveTo>
                  <a:lnTo>
                    <a:pt x="297711" y="477282"/>
                  </a:lnTo>
                  <a:lnTo>
                    <a:pt x="434752" y="137041"/>
                  </a:lnTo>
                  <a:lnTo>
                    <a:pt x="732463" y="137041"/>
                  </a:lnTo>
                  <a:lnTo>
                    <a:pt x="595421" y="477282"/>
                  </a:lnTo>
                  <a:close/>
                  <a:moveTo>
                    <a:pt x="912034" y="42530"/>
                  </a:moveTo>
                  <a:cubicBezTo>
                    <a:pt x="893132" y="14177"/>
                    <a:pt x="855328" y="0"/>
                    <a:pt x="798621" y="0"/>
                  </a:cubicBezTo>
                  <a:lnTo>
                    <a:pt x="311887" y="0"/>
                  </a:lnTo>
                  <a:lnTo>
                    <a:pt x="0" y="765542"/>
                  </a:lnTo>
                  <a:lnTo>
                    <a:pt x="179572" y="765542"/>
                  </a:lnTo>
                  <a:lnTo>
                    <a:pt x="241004" y="619049"/>
                  </a:lnTo>
                  <a:lnTo>
                    <a:pt x="552891" y="619049"/>
                  </a:lnTo>
                  <a:cubicBezTo>
                    <a:pt x="557617" y="619049"/>
                    <a:pt x="718286" y="619049"/>
                    <a:pt x="770267" y="491459"/>
                  </a:cubicBezTo>
                  <a:lnTo>
                    <a:pt x="916760" y="132316"/>
                  </a:lnTo>
                  <a:cubicBezTo>
                    <a:pt x="916760" y="127590"/>
                    <a:pt x="935662" y="80335"/>
                    <a:pt x="912034" y="42530"/>
                  </a:cubicBezTo>
                </a:path>
              </a:pathLst>
            </a:custGeom>
            <a:solidFill>
              <a:srgbClr val="000000"/>
            </a:solidFill>
            <a:ln w="47234" cap="flat">
              <a:noFill/>
              <a:prstDash val="solid"/>
              <a:miter/>
            </a:ln>
          </p:spPr>
          <p:txBody>
            <a:bodyPr rtlCol="0" anchor="ctr"/>
            <a:lstStyle/>
            <a:p>
              <a:endParaRPr lang="de-AT"/>
            </a:p>
          </p:txBody>
        </p:sp>
        <p:sp>
          <p:nvSpPr>
            <p:cNvPr id="34" name="Freihandform: Form 33">
              <a:extLst>
                <a:ext uri="{FF2B5EF4-FFF2-40B4-BE49-F238E27FC236}">
                  <a16:creationId xmlns:a16="http://schemas.microsoft.com/office/drawing/2014/main" id="{F449D590-92D2-4D30-B539-C0DDE85B31B6}"/>
                </a:ext>
              </a:extLst>
            </p:cNvPr>
            <p:cNvSpPr/>
            <p:nvPr/>
          </p:nvSpPr>
          <p:spPr bwMode="gray">
            <a:xfrm>
              <a:off x="6528767" y="4869944"/>
              <a:ext cx="826974" cy="619049"/>
            </a:xfrm>
            <a:custGeom>
              <a:avLst/>
              <a:gdLst>
                <a:gd name="connsiteX0" fmla="*/ 619049 w 826974"/>
                <a:gd name="connsiteY0" fmla="*/ 241004 h 619049"/>
                <a:gd name="connsiteX1" fmla="*/ 316613 w 826974"/>
                <a:gd name="connsiteY1" fmla="*/ 241004 h 619049"/>
                <a:gd name="connsiteX2" fmla="*/ 354418 w 826974"/>
                <a:gd name="connsiteY2" fmla="*/ 141767 h 619049"/>
                <a:gd name="connsiteX3" fmla="*/ 770267 w 826974"/>
                <a:gd name="connsiteY3" fmla="*/ 141767 h 619049"/>
                <a:gd name="connsiteX4" fmla="*/ 826974 w 826974"/>
                <a:gd name="connsiteY4" fmla="*/ 0 h 619049"/>
                <a:gd name="connsiteX5" fmla="*/ 396948 w 826974"/>
                <a:gd name="connsiteY5" fmla="*/ 0 h 619049"/>
                <a:gd name="connsiteX6" fmla="*/ 179571 w 826974"/>
                <a:gd name="connsiteY6" fmla="*/ 127590 h 619049"/>
                <a:gd name="connsiteX7" fmla="*/ 132316 w 826974"/>
                <a:gd name="connsiteY7" fmla="*/ 245729 h 619049"/>
                <a:gd name="connsiteX8" fmla="*/ 137042 w 826974"/>
                <a:gd name="connsiteY8" fmla="*/ 335515 h 619049"/>
                <a:gd name="connsiteX9" fmla="*/ 250455 w 826974"/>
                <a:gd name="connsiteY9" fmla="*/ 378045 h 619049"/>
                <a:gd name="connsiteX10" fmla="*/ 552891 w 826974"/>
                <a:gd name="connsiteY10" fmla="*/ 378045 h 619049"/>
                <a:gd name="connsiteX11" fmla="*/ 515087 w 826974"/>
                <a:gd name="connsiteY11" fmla="*/ 477282 h 619049"/>
                <a:gd name="connsiteX12" fmla="*/ 56707 w 826974"/>
                <a:gd name="connsiteY12" fmla="*/ 477282 h 619049"/>
                <a:gd name="connsiteX13" fmla="*/ 0 w 826974"/>
                <a:gd name="connsiteY13" fmla="*/ 619049 h 619049"/>
                <a:gd name="connsiteX14" fmla="*/ 472557 w 826974"/>
                <a:gd name="connsiteY14" fmla="*/ 619049 h 619049"/>
                <a:gd name="connsiteX15" fmla="*/ 689933 w 826974"/>
                <a:gd name="connsiteY15" fmla="*/ 491459 h 619049"/>
                <a:gd name="connsiteX16" fmla="*/ 737188 w 826974"/>
                <a:gd name="connsiteY16" fmla="*/ 373320 h 619049"/>
                <a:gd name="connsiteX17" fmla="*/ 737188 w 826974"/>
                <a:gd name="connsiteY17" fmla="*/ 288259 h 619049"/>
                <a:gd name="connsiteX18" fmla="*/ 619049 w 826974"/>
                <a:gd name="connsiteY18" fmla="*/ 241004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6974" h="619049">
                  <a:moveTo>
                    <a:pt x="619049" y="241004"/>
                  </a:moveTo>
                  <a:lnTo>
                    <a:pt x="316613" y="241004"/>
                  </a:lnTo>
                  <a:lnTo>
                    <a:pt x="354418" y="141767"/>
                  </a:lnTo>
                  <a:lnTo>
                    <a:pt x="770267" y="141767"/>
                  </a:lnTo>
                  <a:lnTo>
                    <a:pt x="826974" y="0"/>
                  </a:lnTo>
                  <a:lnTo>
                    <a:pt x="396948" y="0"/>
                  </a:lnTo>
                  <a:cubicBezTo>
                    <a:pt x="392222" y="0"/>
                    <a:pt x="231553" y="0"/>
                    <a:pt x="179571" y="127590"/>
                  </a:cubicBezTo>
                  <a:lnTo>
                    <a:pt x="132316" y="245729"/>
                  </a:lnTo>
                  <a:cubicBezTo>
                    <a:pt x="132316" y="245729"/>
                    <a:pt x="113414" y="297711"/>
                    <a:pt x="137042" y="335515"/>
                  </a:cubicBezTo>
                  <a:cubicBezTo>
                    <a:pt x="155943" y="363869"/>
                    <a:pt x="193748" y="378045"/>
                    <a:pt x="250455" y="378045"/>
                  </a:cubicBezTo>
                  <a:lnTo>
                    <a:pt x="552891" y="378045"/>
                  </a:lnTo>
                  <a:lnTo>
                    <a:pt x="515087" y="477282"/>
                  </a:lnTo>
                  <a:lnTo>
                    <a:pt x="56707" y="477282"/>
                  </a:lnTo>
                  <a:lnTo>
                    <a:pt x="0" y="619049"/>
                  </a:lnTo>
                  <a:lnTo>
                    <a:pt x="472557" y="619049"/>
                  </a:lnTo>
                  <a:cubicBezTo>
                    <a:pt x="637952" y="619049"/>
                    <a:pt x="689933" y="496184"/>
                    <a:pt x="689933" y="491459"/>
                  </a:cubicBezTo>
                  <a:lnTo>
                    <a:pt x="737188" y="373320"/>
                  </a:lnTo>
                  <a:cubicBezTo>
                    <a:pt x="751365" y="340241"/>
                    <a:pt x="751365" y="311887"/>
                    <a:pt x="737188" y="288259"/>
                  </a:cubicBezTo>
                  <a:cubicBezTo>
                    <a:pt x="704110" y="241004"/>
                    <a:pt x="623775" y="241004"/>
                    <a:pt x="619049" y="241004"/>
                  </a:cubicBezTo>
                </a:path>
              </a:pathLst>
            </a:custGeom>
            <a:solidFill>
              <a:srgbClr val="000000"/>
            </a:solidFill>
            <a:ln w="47234" cap="flat">
              <a:noFill/>
              <a:prstDash val="solid"/>
              <a:miter/>
            </a:ln>
          </p:spPr>
          <p:txBody>
            <a:bodyPr rtlCol="0" anchor="ctr"/>
            <a:lstStyle/>
            <a:p>
              <a:endParaRPr lang="de-AT"/>
            </a:p>
          </p:txBody>
        </p:sp>
        <p:sp>
          <p:nvSpPr>
            <p:cNvPr id="35" name="Freihandform: Form 34">
              <a:extLst>
                <a:ext uri="{FF2B5EF4-FFF2-40B4-BE49-F238E27FC236}">
                  <a16:creationId xmlns:a16="http://schemas.microsoft.com/office/drawing/2014/main" id="{6F2488C2-3A2C-4690-BC8E-C59EE5FCC213}"/>
                </a:ext>
              </a:extLst>
            </p:cNvPr>
            <p:cNvSpPr/>
            <p:nvPr/>
          </p:nvSpPr>
          <p:spPr bwMode="gray">
            <a:xfrm>
              <a:off x="7970065" y="4723451"/>
              <a:ext cx="862485" cy="765541"/>
            </a:xfrm>
            <a:custGeom>
              <a:avLst/>
              <a:gdLst>
                <a:gd name="connsiteX0" fmla="*/ 732463 w 862485"/>
                <a:gd name="connsiteY0" fmla="*/ 146493 h 765541"/>
                <a:gd name="connsiteX1" fmla="*/ 430027 w 862485"/>
                <a:gd name="connsiteY1" fmla="*/ 146493 h 765541"/>
                <a:gd name="connsiteX2" fmla="*/ 486733 w 862485"/>
                <a:gd name="connsiteY2" fmla="*/ 0 h 765541"/>
                <a:gd name="connsiteX3" fmla="*/ 307162 w 862485"/>
                <a:gd name="connsiteY3" fmla="*/ 0 h 765541"/>
                <a:gd name="connsiteX4" fmla="*/ 0 w 862485"/>
                <a:gd name="connsiteY4" fmla="*/ 765542 h 765541"/>
                <a:gd name="connsiteX5" fmla="*/ 179571 w 862485"/>
                <a:gd name="connsiteY5" fmla="*/ 765542 h 765541"/>
                <a:gd name="connsiteX6" fmla="*/ 373320 w 862485"/>
                <a:gd name="connsiteY6" fmla="*/ 288260 h 765541"/>
                <a:gd name="connsiteX7" fmla="*/ 671030 w 862485"/>
                <a:gd name="connsiteY7" fmla="*/ 288260 h 765541"/>
                <a:gd name="connsiteX8" fmla="*/ 477282 w 862485"/>
                <a:gd name="connsiteY8" fmla="*/ 765542 h 765541"/>
                <a:gd name="connsiteX9" fmla="*/ 656854 w 862485"/>
                <a:gd name="connsiteY9" fmla="*/ 765542 h 765541"/>
                <a:gd name="connsiteX10" fmla="*/ 855328 w 862485"/>
                <a:gd name="connsiteY10" fmla="*/ 278808 h 765541"/>
                <a:gd name="connsiteX11" fmla="*/ 850602 w 862485"/>
                <a:gd name="connsiteY11" fmla="*/ 189023 h 765541"/>
                <a:gd name="connsiteX12" fmla="*/ 732463 w 862485"/>
                <a:gd name="connsiteY12" fmla="*/ 146493 h 76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485" h="765541">
                  <a:moveTo>
                    <a:pt x="732463" y="146493"/>
                  </a:moveTo>
                  <a:lnTo>
                    <a:pt x="430027" y="146493"/>
                  </a:lnTo>
                  <a:lnTo>
                    <a:pt x="486733" y="0"/>
                  </a:lnTo>
                  <a:lnTo>
                    <a:pt x="307162" y="0"/>
                  </a:lnTo>
                  <a:lnTo>
                    <a:pt x="0" y="765542"/>
                  </a:lnTo>
                  <a:lnTo>
                    <a:pt x="179571" y="765542"/>
                  </a:lnTo>
                  <a:lnTo>
                    <a:pt x="373320" y="288260"/>
                  </a:lnTo>
                  <a:lnTo>
                    <a:pt x="671030" y="288260"/>
                  </a:lnTo>
                  <a:lnTo>
                    <a:pt x="477282" y="765542"/>
                  </a:lnTo>
                  <a:lnTo>
                    <a:pt x="656854" y="765542"/>
                  </a:lnTo>
                  <a:lnTo>
                    <a:pt x="855328" y="278808"/>
                  </a:lnTo>
                  <a:cubicBezTo>
                    <a:pt x="855328" y="278808"/>
                    <a:pt x="874230" y="226827"/>
                    <a:pt x="850602" y="189023"/>
                  </a:cubicBezTo>
                  <a:cubicBezTo>
                    <a:pt x="826974" y="160669"/>
                    <a:pt x="789170" y="146493"/>
                    <a:pt x="732463" y="146493"/>
                  </a:cubicBezTo>
                </a:path>
              </a:pathLst>
            </a:custGeom>
            <a:solidFill>
              <a:srgbClr val="000000"/>
            </a:solidFill>
            <a:ln w="47234" cap="flat">
              <a:noFill/>
              <a:prstDash val="solid"/>
              <a:miter/>
            </a:ln>
          </p:spPr>
          <p:txBody>
            <a:bodyPr rtlCol="0" anchor="ctr"/>
            <a:lstStyle/>
            <a:p>
              <a:endParaRPr lang="de-AT"/>
            </a:p>
          </p:txBody>
        </p:sp>
        <p:sp>
          <p:nvSpPr>
            <p:cNvPr id="36" name="Freihandform: Form 35">
              <a:extLst>
                <a:ext uri="{FF2B5EF4-FFF2-40B4-BE49-F238E27FC236}">
                  <a16:creationId xmlns:a16="http://schemas.microsoft.com/office/drawing/2014/main" id="{B749246F-DE5E-457A-8C4D-37965A546CAE}"/>
                </a:ext>
              </a:extLst>
            </p:cNvPr>
            <p:cNvSpPr/>
            <p:nvPr/>
          </p:nvSpPr>
          <p:spPr bwMode="gray">
            <a:xfrm>
              <a:off x="7296601" y="4869944"/>
              <a:ext cx="819955" cy="619049"/>
            </a:xfrm>
            <a:custGeom>
              <a:avLst/>
              <a:gdLst>
                <a:gd name="connsiteX0" fmla="*/ 328497 w 819955"/>
                <a:gd name="connsiteY0" fmla="*/ 141767 h 619049"/>
                <a:gd name="connsiteX1" fmla="*/ 763249 w 819955"/>
                <a:gd name="connsiteY1" fmla="*/ 141767 h 619049"/>
                <a:gd name="connsiteX2" fmla="*/ 819956 w 819955"/>
                <a:gd name="connsiteY2" fmla="*/ 0 h 619049"/>
                <a:gd name="connsiteX3" fmla="*/ 366301 w 819955"/>
                <a:gd name="connsiteY3" fmla="*/ 0 h 619049"/>
                <a:gd name="connsiteX4" fmla="*/ 148925 w 819955"/>
                <a:gd name="connsiteY4" fmla="*/ 127590 h 619049"/>
                <a:gd name="connsiteX5" fmla="*/ 7158 w 819955"/>
                <a:gd name="connsiteY5" fmla="*/ 486733 h 619049"/>
                <a:gd name="connsiteX6" fmla="*/ 11884 w 819955"/>
                <a:gd name="connsiteY6" fmla="*/ 576519 h 619049"/>
                <a:gd name="connsiteX7" fmla="*/ 125297 w 819955"/>
                <a:gd name="connsiteY7" fmla="*/ 619049 h 619049"/>
                <a:gd name="connsiteX8" fmla="*/ 569500 w 819955"/>
                <a:gd name="connsiteY8" fmla="*/ 619049 h 619049"/>
                <a:gd name="connsiteX9" fmla="*/ 626207 w 819955"/>
                <a:gd name="connsiteY9" fmla="*/ 477282 h 619049"/>
                <a:gd name="connsiteX10" fmla="*/ 191455 w 819955"/>
                <a:gd name="connsiteY10" fmla="*/ 477282 h 619049"/>
                <a:gd name="connsiteX11" fmla="*/ 328497 w 819955"/>
                <a:gd name="connsiteY11" fmla="*/ 141767 h 6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9955" h="619049">
                  <a:moveTo>
                    <a:pt x="328497" y="141767"/>
                  </a:moveTo>
                  <a:lnTo>
                    <a:pt x="763249" y="141767"/>
                  </a:lnTo>
                  <a:lnTo>
                    <a:pt x="819956" y="0"/>
                  </a:lnTo>
                  <a:lnTo>
                    <a:pt x="366301" y="0"/>
                  </a:lnTo>
                  <a:cubicBezTo>
                    <a:pt x="361576" y="0"/>
                    <a:pt x="200906" y="0"/>
                    <a:pt x="148925" y="127590"/>
                  </a:cubicBezTo>
                  <a:lnTo>
                    <a:pt x="7158" y="486733"/>
                  </a:lnTo>
                  <a:cubicBezTo>
                    <a:pt x="7158" y="486733"/>
                    <a:pt x="-11744" y="538714"/>
                    <a:pt x="11884" y="576519"/>
                  </a:cubicBezTo>
                  <a:cubicBezTo>
                    <a:pt x="30786" y="604872"/>
                    <a:pt x="68590" y="619049"/>
                    <a:pt x="125297" y="619049"/>
                  </a:cubicBezTo>
                  <a:lnTo>
                    <a:pt x="569500" y="619049"/>
                  </a:lnTo>
                  <a:lnTo>
                    <a:pt x="626207" y="477282"/>
                  </a:lnTo>
                  <a:lnTo>
                    <a:pt x="191455" y="477282"/>
                  </a:lnTo>
                  <a:lnTo>
                    <a:pt x="328497" y="141767"/>
                  </a:lnTo>
                  <a:close/>
                </a:path>
              </a:pathLst>
            </a:custGeom>
            <a:solidFill>
              <a:srgbClr val="000000"/>
            </a:solidFill>
            <a:ln w="47234" cap="flat">
              <a:noFill/>
              <a:prstDash val="solid"/>
              <a:miter/>
            </a:ln>
          </p:spPr>
          <p:txBody>
            <a:bodyPr rtlCol="0" anchor="ctr"/>
            <a:lstStyle/>
            <a:p>
              <a:endParaRPr lang="de-AT"/>
            </a:p>
          </p:txBody>
        </p:sp>
      </p:grpSp>
      <p:grpSp>
        <p:nvGrpSpPr>
          <p:cNvPr id="37" name="Gruppieren 36">
            <a:extLst>
              <a:ext uri="{FF2B5EF4-FFF2-40B4-BE49-F238E27FC236}">
                <a16:creationId xmlns:a16="http://schemas.microsoft.com/office/drawing/2014/main" id="{1311B58B-2355-4AC6-B5B2-805750F4AFA8}"/>
              </a:ext>
            </a:extLst>
          </p:cNvPr>
          <p:cNvGrpSpPr/>
          <p:nvPr userDrawn="1">
            <p:custDataLst>
              <p:tags r:id="rId2"/>
            </p:custDataLst>
          </p:nvPr>
        </p:nvGrpSpPr>
        <p:grpSpPr bwMode="gray">
          <a:xfrm>
            <a:off x="3016838" y="1851708"/>
            <a:ext cx="2601780" cy="276567"/>
            <a:chOff x="6415353" y="5644937"/>
            <a:chExt cx="3600881" cy="382770"/>
          </a:xfrm>
        </p:grpSpPr>
        <p:sp>
          <p:nvSpPr>
            <p:cNvPr id="38" name="Freihandform: Form 37">
              <a:extLst>
                <a:ext uri="{FF2B5EF4-FFF2-40B4-BE49-F238E27FC236}">
                  <a16:creationId xmlns:a16="http://schemas.microsoft.com/office/drawing/2014/main" id="{7E7C1B2B-37E3-420F-ABC0-F0E6C5580047}"/>
                </a:ext>
              </a:extLst>
            </p:cNvPr>
            <p:cNvSpPr/>
            <p:nvPr/>
          </p:nvSpPr>
          <p:spPr bwMode="gray">
            <a:xfrm>
              <a:off x="7152541" y="5644937"/>
              <a:ext cx="118139" cy="297710"/>
            </a:xfrm>
            <a:custGeom>
              <a:avLst/>
              <a:gdLst>
                <a:gd name="connsiteX0" fmla="*/ 61433 w 118139"/>
                <a:gd name="connsiteY0" fmla="*/ 0 h 297710"/>
                <a:gd name="connsiteX1" fmla="*/ 118139 w 118139"/>
                <a:gd name="connsiteY1" fmla="*/ 0 h 297710"/>
                <a:gd name="connsiteX2" fmla="*/ 56707 w 118139"/>
                <a:gd name="connsiteY2" fmla="*/ 297711 h 297710"/>
                <a:gd name="connsiteX3" fmla="*/ 0 w 118139"/>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18139" h="297710">
                  <a:moveTo>
                    <a:pt x="61433" y="0"/>
                  </a:moveTo>
                  <a:lnTo>
                    <a:pt x="118139" y="0"/>
                  </a:lnTo>
                  <a:lnTo>
                    <a:pt x="56707"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39" name="Freihandform: Form 38">
              <a:extLst>
                <a:ext uri="{FF2B5EF4-FFF2-40B4-BE49-F238E27FC236}">
                  <a16:creationId xmlns:a16="http://schemas.microsoft.com/office/drawing/2014/main" id="{3639A6B5-344A-413D-9F74-CF63B77A90D3}"/>
                </a:ext>
              </a:extLst>
            </p:cNvPr>
            <p:cNvSpPr/>
            <p:nvPr/>
          </p:nvSpPr>
          <p:spPr bwMode="gray">
            <a:xfrm>
              <a:off x="7265955" y="5644937"/>
              <a:ext cx="122864" cy="297710"/>
            </a:xfrm>
            <a:custGeom>
              <a:avLst/>
              <a:gdLst>
                <a:gd name="connsiteX0" fmla="*/ 61433 w 122864"/>
                <a:gd name="connsiteY0" fmla="*/ 0 h 297710"/>
                <a:gd name="connsiteX1" fmla="*/ 122865 w 122864"/>
                <a:gd name="connsiteY1" fmla="*/ 0 h 297710"/>
                <a:gd name="connsiteX2" fmla="*/ 61433 w 122864"/>
                <a:gd name="connsiteY2" fmla="*/ 297711 h 297710"/>
                <a:gd name="connsiteX3" fmla="*/ 0 w 122864"/>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22864" h="297710">
                  <a:moveTo>
                    <a:pt x="61433" y="0"/>
                  </a:moveTo>
                  <a:lnTo>
                    <a:pt x="122865" y="0"/>
                  </a:lnTo>
                  <a:lnTo>
                    <a:pt x="61433"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40" name="Freihandform: Form 39">
              <a:extLst>
                <a:ext uri="{FF2B5EF4-FFF2-40B4-BE49-F238E27FC236}">
                  <a16:creationId xmlns:a16="http://schemas.microsoft.com/office/drawing/2014/main" id="{7315C52F-9682-44B2-99B5-4A7243FC77F1}"/>
                </a:ext>
              </a:extLst>
            </p:cNvPr>
            <p:cNvSpPr/>
            <p:nvPr/>
          </p:nvSpPr>
          <p:spPr bwMode="gray">
            <a:xfrm>
              <a:off x="8149636" y="5649662"/>
              <a:ext cx="122865" cy="292985"/>
            </a:xfrm>
            <a:custGeom>
              <a:avLst/>
              <a:gdLst>
                <a:gd name="connsiteX0" fmla="*/ 113414 w 122865"/>
                <a:gd name="connsiteY0" fmla="*/ 47256 h 292985"/>
                <a:gd name="connsiteX1" fmla="*/ 51982 w 122865"/>
                <a:gd name="connsiteY1" fmla="*/ 47256 h 292985"/>
                <a:gd name="connsiteX2" fmla="*/ 61433 w 122865"/>
                <a:gd name="connsiteY2" fmla="*/ 0 h 292985"/>
                <a:gd name="connsiteX3" fmla="*/ 122865 w 122865"/>
                <a:gd name="connsiteY3" fmla="*/ 0 h 292985"/>
                <a:gd name="connsiteX4" fmla="*/ 113414 w 122865"/>
                <a:gd name="connsiteY4" fmla="*/ 47256 h 292985"/>
                <a:gd name="connsiteX5" fmla="*/ 47256 w 122865"/>
                <a:gd name="connsiteY5" fmla="*/ 80335 h 292985"/>
                <a:gd name="connsiteX6" fmla="*/ 108688 w 122865"/>
                <a:gd name="connsiteY6" fmla="*/ 80335 h 292985"/>
                <a:gd name="connsiteX7" fmla="*/ 61433 w 122865"/>
                <a:gd name="connsiteY7" fmla="*/ 292985 h 292985"/>
                <a:gd name="connsiteX8" fmla="*/ 0 w 122865"/>
                <a:gd name="connsiteY8" fmla="*/ 292985 h 292985"/>
                <a:gd name="connsiteX9" fmla="*/ 47256 w 122865"/>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5" h="292985">
                  <a:moveTo>
                    <a:pt x="113414" y="47256"/>
                  </a:moveTo>
                  <a:lnTo>
                    <a:pt x="51982" y="47256"/>
                  </a:lnTo>
                  <a:lnTo>
                    <a:pt x="61433" y="0"/>
                  </a:lnTo>
                  <a:lnTo>
                    <a:pt x="122865" y="0"/>
                  </a:lnTo>
                  <a:lnTo>
                    <a:pt x="113414" y="47256"/>
                  </a:lnTo>
                  <a:close/>
                  <a:moveTo>
                    <a:pt x="47256" y="80335"/>
                  </a:moveTo>
                  <a:lnTo>
                    <a:pt x="108688" y="80335"/>
                  </a:lnTo>
                  <a:lnTo>
                    <a:pt x="61433"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41" name="Freihandform: Form 40">
              <a:extLst>
                <a:ext uri="{FF2B5EF4-FFF2-40B4-BE49-F238E27FC236}">
                  <a16:creationId xmlns:a16="http://schemas.microsoft.com/office/drawing/2014/main" id="{ACFDD4C6-4BEB-41EA-9EEE-1DEC974DA3C8}"/>
                </a:ext>
              </a:extLst>
            </p:cNvPr>
            <p:cNvSpPr/>
            <p:nvPr/>
          </p:nvSpPr>
          <p:spPr bwMode="gray">
            <a:xfrm>
              <a:off x="8915178" y="5644937"/>
              <a:ext cx="122864" cy="297710"/>
            </a:xfrm>
            <a:custGeom>
              <a:avLst/>
              <a:gdLst>
                <a:gd name="connsiteX0" fmla="*/ 61432 w 122864"/>
                <a:gd name="connsiteY0" fmla="*/ 0 h 297710"/>
                <a:gd name="connsiteX1" fmla="*/ 122865 w 122864"/>
                <a:gd name="connsiteY1" fmla="*/ 0 h 297710"/>
                <a:gd name="connsiteX2" fmla="*/ 56707 w 122864"/>
                <a:gd name="connsiteY2" fmla="*/ 297711 h 297710"/>
                <a:gd name="connsiteX3" fmla="*/ 0 w 122864"/>
                <a:gd name="connsiteY3" fmla="*/ 297711 h 297710"/>
              </a:gdLst>
              <a:ahLst/>
              <a:cxnLst>
                <a:cxn ang="0">
                  <a:pos x="connsiteX0" y="connsiteY0"/>
                </a:cxn>
                <a:cxn ang="0">
                  <a:pos x="connsiteX1" y="connsiteY1"/>
                </a:cxn>
                <a:cxn ang="0">
                  <a:pos x="connsiteX2" y="connsiteY2"/>
                </a:cxn>
                <a:cxn ang="0">
                  <a:pos x="connsiteX3" y="connsiteY3"/>
                </a:cxn>
              </a:cxnLst>
              <a:rect l="l" t="t" r="r" b="b"/>
              <a:pathLst>
                <a:path w="122864" h="297710">
                  <a:moveTo>
                    <a:pt x="61432" y="0"/>
                  </a:moveTo>
                  <a:lnTo>
                    <a:pt x="122865" y="0"/>
                  </a:lnTo>
                  <a:lnTo>
                    <a:pt x="56707" y="297711"/>
                  </a:lnTo>
                  <a:lnTo>
                    <a:pt x="0" y="297711"/>
                  </a:lnTo>
                  <a:close/>
                </a:path>
              </a:pathLst>
            </a:custGeom>
            <a:solidFill>
              <a:srgbClr val="000000"/>
            </a:solidFill>
            <a:ln w="47234" cap="flat">
              <a:noFill/>
              <a:prstDash val="solid"/>
              <a:miter/>
            </a:ln>
          </p:spPr>
          <p:txBody>
            <a:bodyPr rtlCol="0" anchor="ctr"/>
            <a:lstStyle/>
            <a:p>
              <a:endParaRPr lang="de-AT"/>
            </a:p>
          </p:txBody>
        </p:sp>
        <p:sp>
          <p:nvSpPr>
            <p:cNvPr id="42" name="Freihandform: Form 41">
              <a:extLst>
                <a:ext uri="{FF2B5EF4-FFF2-40B4-BE49-F238E27FC236}">
                  <a16:creationId xmlns:a16="http://schemas.microsoft.com/office/drawing/2014/main" id="{DC570132-262C-45FA-B346-778902BE4329}"/>
                </a:ext>
              </a:extLst>
            </p:cNvPr>
            <p:cNvSpPr/>
            <p:nvPr/>
          </p:nvSpPr>
          <p:spPr bwMode="gray">
            <a:xfrm>
              <a:off x="9028592" y="5649662"/>
              <a:ext cx="122864" cy="292985"/>
            </a:xfrm>
            <a:custGeom>
              <a:avLst/>
              <a:gdLst>
                <a:gd name="connsiteX0" fmla="*/ 113413 w 122864"/>
                <a:gd name="connsiteY0" fmla="*/ 47256 h 292985"/>
                <a:gd name="connsiteX1" fmla="*/ 51981 w 122864"/>
                <a:gd name="connsiteY1" fmla="*/ 47256 h 292985"/>
                <a:gd name="connsiteX2" fmla="*/ 61432 w 122864"/>
                <a:gd name="connsiteY2" fmla="*/ 0 h 292985"/>
                <a:gd name="connsiteX3" fmla="*/ 122864 w 122864"/>
                <a:gd name="connsiteY3" fmla="*/ 0 h 292985"/>
                <a:gd name="connsiteX4" fmla="*/ 113413 w 122864"/>
                <a:gd name="connsiteY4" fmla="*/ 47256 h 292985"/>
                <a:gd name="connsiteX5" fmla="*/ 47256 w 122864"/>
                <a:gd name="connsiteY5" fmla="*/ 80335 h 292985"/>
                <a:gd name="connsiteX6" fmla="*/ 108688 w 122864"/>
                <a:gd name="connsiteY6" fmla="*/ 80335 h 292985"/>
                <a:gd name="connsiteX7" fmla="*/ 61432 w 122864"/>
                <a:gd name="connsiteY7" fmla="*/ 292985 h 292985"/>
                <a:gd name="connsiteX8" fmla="*/ 0 w 122864"/>
                <a:gd name="connsiteY8" fmla="*/ 292985 h 292985"/>
                <a:gd name="connsiteX9" fmla="*/ 47256 w 122864"/>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4" h="292985">
                  <a:moveTo>
                    <a:pt x="113413" y="47256"/>
                  </a:moveTo>
                  <a:lnTo>
                    <a:pt x="51981" y="47256"/>
                  </a:lnTo>
                  <a:lnTo>
                    <a:pt x="61432" y="0"/>
                  </a:lnTo>
                  <a:lnTo>
                    <a:pt x="122864" y="0"/>
                  </a:lnTo>
                  <a:lnTo>
                    <a:pt x="113413" y="47256"/>
                  </a:lnTo>
                  <a:close/>
                  <a:moveTo>
                    <a:pt x="47256" y="80335"/>
                  </a:moveTo>
                  <a:lnTo>
                    <a:pt x="108688" y="80335"/>
                  </a:lnTo>
                  <a:lnTo>
                    <a:pt x="61432"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43" name="Freihandform: Form 42">
              <a:extLst>
                <a:ext uri="{FF2B5EF4-FFF2-40B4-BE49-F238E27FC236}">
                  <a16:creationId xmlns:a16="http://schemas.microsoft.com/office/drawing/2014/main" id="{8305EF84-1B2E-4A17-8223-DEB8626A4964}"/>
                </a:ext>
              </a:extLst>
            </p:cNvPr>
            <p:cNvSpPr/>
            <p:nvPr/>
          </p:nvSpPr>
          <p:spPr bwMode="gray">
            <a:xfrm>
              <a:off x="9529501" y="5649662"/>
              <a:ext cx="122865" cy="292985"/>
            </a:xfrm>
            <a:custGeom>
              <a:avLst/>
              <a:gdLst>
                <a:gd name="connsiteX0" fmla="*/ 113414 w 122865"/>
                <a:gd name="connsiteY0" fmla="*/ 47256 h 292985"/>
                <a:gd name="connsiteX1" fmla="*/ 51982 w 122865"/>
                <a:gd name="connsiteY1" fmla="*/ 47256 h 292985"/>
                <a:gd name="connsiteX2" fmla="*/ 61433 w 122865"/>
                <a:gd name="connsiteY2" fmla="*/ 0 h 292985"/>
                <a:gd name="connsiteX3" fmla="*/ 122865 w 122865"/>
                <a:gd name="connsiteY3" fmla="*/ 0 h 292985"/>
                <a:gd name="connsiteX4" fmla="*/ 113414 w 122865"/>
                <a:gd name="connsiteY4" fmla="*/ 47256 h 292985"/>
                <a:gd name="connsiteX5" fmla="*/ 47256 w 122865"/>
                <a:gd name="connsiteY5" fmla="*/ 80335 h 292985"/>
                <a:gd name="connsiteX6" fmla="*/ 108688 w 122865"/>
                <a:gd name="connsiteY6" fmla="*/ 80335 h 292985"/>
                <a:gd name="connsiteX7" fmla="*/ 61433 w 122865"/>
                <a:gd name="connsiteY7" fmla="*/ 292985 h 292985"/>
                <a:gd name="connsiteX8" fmla="*/ 0 w 122865"/>
                <a:gd name="connsiteY8" fmla="*/ 292985 h 292985"/>
                <a:gd name="connsiteX9" fmla="*/ 47256 w 122865"/>
                <a:gd name="connsiteY9" fmla="*/ 80335 h 2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5" h="292985">
                  <a:moveTo>
                    <a:pt x="113414" y="47256"/>
                  </a:moveTo>
                  <a:lnTo>
                    <a:pt x="51982" y="47256"/>
                  </a:lnTo>
                  <a:lnTo>
                    <a:pt x="61433" y="0"/>
                  </a:lnTo>
                  <a:lnTo>
                    <a:pt x="122865" y="0"/>
                  </a:lnTo>
                  <a:lnTo>
                    <a:pt x="113414" y="47256"/>
                  </a:lnTo>
                  <a:close/>
                  <a:moveTo>
                    <a:pt x="47256" y="80335"/>
                  </a:moveTo>
                  <a:lnTo>
                    <a:pt x="108688" y="80335"/>
                  </a:lnTo>
                  <a:lnTo>
                    <a:pt x="61433" y="292985"/>
                  </a:lnTo>
                  <a:lnTo>
                    <a:pt x="0" y="292985"/>
                  </a:lnTo>
                  <a:lnTo>
                    <a:pt x="47256" y="80335"/>
                  </a:lnTo>
                  <a:close/>
                </a:path>
              </a:pathLst>
            </a:custGeom>
            <a:solidFill>
              <a:srgbClr val="000000"/>
            </a:solidFill>
            <a:ln w="47234" cap="flat">
              <a:noFill/>
              <a:prstDash val="solid"/>
              <a:miter/>
            </a:ln>
          </p:spPr>
          <p:txBody>
            <a:bodyPr rtlCol="0" anchor="ctr"/>
            <a:lstStyle/>
            <a:p>
              <a:endParaRPr lang="de-AT"/>
            </a:p>
          </p:txBody>
        </p:sp>
        <p:sp>
          <p:nvSpPr>
            <p:cNvPr id="44" name="Freihandform: Form 43">
              <a:extLst>
                <a:ext uri="{FF2B5EF4-FFF2-40B4-BE49-F238E27FC236}">
                  <a16:creationId xmlns:a16="http://schemas.microsoft.com/office/drawing/2014/main" id="{2B66B91D-A159-4E6D-A6BF-3F0B6E1A9B3C}"/>
                </a:ext>
              </a:extLst>
            </p:cNvPr>
            <p:cNvSpPr/>
            <p:nvPr/>
          </p:nvSpPr>
          <p:spPr bwMode="gray">
            <a:xfrm>
              <a:off x="6415353" y="5725271"/>
              <a:ext cx="217375" cy="222101"/>
            </a:xfrm>
            <a:custGeom>
              <a:avLst/>
              <a:gdLst>
                <a:gd name="connsiteX0" fmla="*/ 155944 w 217375"/>
                <a:gd name="connsiteY0" fmla="*/ 75609 h 222101"/>
                <a:gd name="connsiteX1" fmla="*/ 118139 w 217375"/>
                <a:gd name="connsiteY1" fmla="*/ 37804 h 222101"/>
                <a:gd name="connsiteX2" fmla="*/ 56707 w 217375"/>
                <a:gd name="connsiteY2" fmla="*/ 127590 h 222101"/>
                <a:gd name="connsiteX3" fmla="*/ 99237 w 217375"/>
                <a:gd name="connsiteY3" fmla="*/ 174846 h 222101"/>
                <a:gd name="connsiteX4" fmla="*/ 146493 w 217375"/>
                <a:gd name="connsiteY4" fmla="*/ 137041 h 222101"/>
                <a:gd name="connsiteX5" fmla="*/ 203200 w 217375"/>
                <a:gd name="connsiteY5" fmla="*/ 137041 h 222101"/>
                <a:gd name="connsiteX6" fmla="*/ 94511 w 217375"/>
                <a:gd name="connsiteY6" fmla="*/ 222102 h 222101"/>
                <a:gd name="connsiteX7" fmla="*/ 0 w 217375"/>
                <a:gd name="connsiteY7" fmla="*/ 132316 h 222101"/>
                <a:gd name="connsiteX8" fmla="*/ 122865 w 217375"/>
                <a:gd name="connsiteY8" fmla="*/ 0 h 222101"/>
                <a:gd name="connsiteX9" fmla="*/ 217376 w 217375"/>
                <a:gd name="connsiteY9" fmla="*/ 80335 h 222101"/>
                <a:gd name="connsiteX10" fmla="*/ 155944 w 217375"/>
                <a:gd name="connsiteY10" fmla="*/ 80335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375" h="222101">
                  <a:moveTo>
                    <a:pt x="155944" y="75609"/>
                  </a:moveTo>
                  <a:cubicBezTo>
                    <a:pt x="155944" y="51981"/>
                    <a:pt x="141767" y="37804"/>
                    <a:pt x="118139" y="37804"/>
                  </a:cubicBezTo>
                  <a:cubicBezTo>
                    <a:pt x="75609" y="37804"/>
                    <a:pt x="56707" y="89786"/>
                    <a:pt x="56707" y="127590"/>
                  </a:cubicBezTo>
                  <a:cubicBezTo>
                    <a:pt x="56707" y="151218"/>
                    <a:pt x="66158" y="174846"/>
                    <a:pt x="99237" y="174846"/>
                  </a:cubicBezTo>
                  <a:cubicBezTo>
                    <a:pt x="127590" y="174846"/>
                    <a:pt x="141767" y="155944"/>
                    <a:pt x="146493" y="137041"/>
                  </a:cubicBezTo>
                  <a:lnTo>
                    <a:pt x="203200" y="137041"/>
                  </a:lnTo>
                  <a:cubicBezTo>
                    <a:pt x="184297" y="189023"/>
                    <a:pt x="146493" y="222102"/>
                    <a:pt x="94511" y="222102"/>
                  </a:cubicBezTo>
                  <a:cubicBezTo>
                    <a:pt x="33079" y="222102"/>
                    <a:pt x="0" y="193748"/>
                    <a:pt x="0" y="132316"/>
                  </a:cubicBezTo>
                  <a:cubicBezTo>
                    <a:pt x="0" y="61432"/>
                    <a:pt x="42530" y="0"/>
                    <a:pt x="122865" y="0"/>
                  </a:cubicBezTo>
                  <a:cubicBezTo>
                    <a:pt x="174846" y="0"/>
                    <a:pt x="217376" y="23628"/>
                    <a:pt x="217376" y="80335"/>
                  </a:cubicBezTo>
                  <a:lnTo>
                    <a:pt x="155944" y="80335"/>
                  </a:lnTo>
                  <a:close/>
                </a:path>
              </a:pathLst>
            </a:custGeom>
            <a:solidFill>
              <a:srgbClr val="000000"/>
            </a:solidFill>
            <a:ln w="47234" cap="flat">
              <a:noFill/>
              <a:prstDash val="solid"/>
              <a:miter/>
            </a:ln>
          </p:spPr>
          <p:txBody>
            <a:bodyPr rtlCol="0" anchor="ctr"/>
            <a:lstStyle/>
            <a:p>
              <a:endParaRPr lang="de-AT"/>
            </a:p>
          </p:txBody>
        </p:sp>
        <p:sp>
          <p:nvSpPr>
            <p:cNvPr id="45" name="Freihandform: Form 44">
              <a:extLst>
                <a:ext uri="{FF2B5EF4-FFF2-40B4-BE49-F238E27FC236}">
                  <a16:creationId xmlns:a16="http://schemas.microsoft.com/office/drawing/2014/main" id="{4410D68E-8281-4642-9902-97F6E851BA58}"/>
                </a:ext>
              </a:extLst>
            </p:cNvPr>
            <p:cNvSpPr/>
            <p:nvPr/>
          </p:nvSpPr>
          <p:spPr bwMode="gray">
            <a:xfrm>
              <a:off x="6642180" y="5644937"/>
              <a:ext cx="226826" cy="302436"/>
            </a:xfrm>
            <a:custGeom>
              <a:avLst/>
              <a:gdLst>
                <a:gd name="connsiteX0" fmla="*/ 61432 w 226826"/>
                <a:gd name="connsiteY0" fmla="*/ 0 h 302436"/>
                <a:gd name="connsiteX1" fmla="*/ 118139 w 226826"/>
                <a:gd name="connsiteY1" fmla="*/ 0 h 302436"/>
                <a:gd name="connsiteX2" fmla="*/ 94511 w 226826"/>
                <a:gd name="connsiteY2" fmla="*/ 108688 h 302436"/>
                <a:gd name="connsiteX3" fmla="*/ 94511 w 226826"/>
                <a:gd name="connsiteY3" fmla="*/ 108688 h 302436"/>
                <a:gd name="connsiteX4" fmla="*/ 165395 w 226826"/>
                <a:gd name="connsiteY4" fmla="*/ 80335 h 302436"/>
                <a:gd name="connsiteX5" fmla="*/ 226827 w 226826"/>
                <a:gd name="connsiteY5" fmla="*/ 137041 h 302436"/>
                <a:gd name="connsiteX6" fmla="*/ 222101 w 226826"/>
                <a:gd name="connsiteY6" fmla="*/ 174846 h 302436"/>
                <a:gd name="connsiteX7" fmla="*/ 193748 w 226826"/>
                <a:gd name="connsiteY7" fmla="*/ 302436 h 302436"/>
                <a:gd name="connsiteX8" fmla="*/ 137041 w 226826"/>
                <a:gd name="connsiteY8" fmla="*/ 302436 h 302436"/>
                <a:gd name="connsiteX9" fmla="*/ 165395 w 226826"/>
                <a:gd name="connsiteY9" fmla="*/ 174846 h 302436"/>
                <a:gd name="connsiteX10" fmla="*/ 170120 w 226826"/>
                <a:gd name="connsiteY10" fmla="*/ 146493 h 302436"/>
                <a:gd name="connsiteX11" fmla="*/ 141767 w 226826"/>
                <a:gd name="connsiteY11" fmla="*/ 122865 h 302436"/>
                <a:gd name="connsiteX12" fmla="*/ 80334 w 226826"/>
                <a:gd name="connsiteY12" fmla="*/ 184297 h 302436"/>
                <a:gd name="connsiteX13" fmla="*/ 56707 w 226826"/>
                <a:gd name="connsiteY13" fmla="*/ 297711 h 302436"/>
                <a:gd name="connsiteX14" fmla="*/ 0 w 226826"/>
                <a:gd name="connsiteY14" fmla="*/ 297711 h 302436"/>
                <a:gd name="connsiteX15" fmla="*/ 61432 w 226826"/>
                <a:gd name="connsiteY15" fmla="*/ 0 h 30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302436">
                  <a:moveTo>
                    <a:pt x="61432" y="0"/>
                  </a:moveTo>
                  <a:lnTo>
                    <a:pt x="118139" y="0"/>
                  </a:lnTo>
                  <a:lnTo>
                    <a:pt x="94511" y="108688"/>
                  </a:lnTo>
                  <a:lnTo>
                    <a:pt x="94511" y="108688"/>
                  </a:lnTo>
                  <a:cubicBezTo>
                    <a:pt x="103962" y="94511"/>
                    <a:pt x="127590" y="80335"/>
                    <a:pt x="165395" y="80335"/>
                  </a:cubicBezTo>
                  <a:cubicBezTo>
                    <a:pt x="207925" y="80335"/>
                    <a:pt x="226827" y="99237"/>
                    <a:pt x="226827" y="137041"/>
                  </a:cubicBezTo>
                  <a:cubicBezTo>
                    <a:pt x="226827" y="146493"/>
                    <a:pt x="222101" y="165395"/>
                    <a:pt x="222101" y="174846"/>
                  </a:cubicBezTo>
                  <a:lnTo>
                    <a:pt x="193748" y="302436"/>
                  </a:lnTo>
                  <a:lnTo>
                    <a:pt x="137041" y="302436"/>
                  </a:lnTo>
                  <a:lnTo>
                    <a:pt x="165395" y="174846"/>
                  </a:lnTo>
                  <a:cubicBezTo>
                    <a:pt x="165395" y="170120"/>
                    <a:pt x="170120" y="155944"/>
                    <a:pt x="170120" y="146493"/>
                  </a:cubicBezTo>
                  <a:cubicBezTo>
                    <a:pt x="170120" y="132316"/>
                    <a:pt x="155943" y="122865"/>
                    <a:pt x="141767" y="122865"/>
                  </a:cubicBezTo>
                  <a:cubicBezTo>
                    <a:pt x="103962" y="122865"/>
                    <a:pt x="89785" y="151218"/>
                    <a:pt x="80334" y="184297"/>
                  </a:cubicBezTo>
                  <a:lnTo>
                    <a:pt x="56707" y="297711"/>
                  </a:lnTo>
                  <a:lnTo>
                    <a:pt x="0" y="297711"/>
                  </a:lnTo>
                  <a:lnTo>
                    <a:pt x="61432" y="0"/>
                  </a:lnTo>
                  <a:close/>
                </a:path>
              </a:pathLst>
            </a:custGeom>
            <a:solidFill>
              <a:srgbClr val="000000"/>
            </a:solidFill>
            <a:ln w="47234" cap="flat">
              <a:noFill/>
              <a:prstDash val="solid"/>
              <a:miter/>
            </a:ln>
          </p:spPr>
          <p:txBody>
            <a:bodyPr rtlCol="0" anchor="ctr"/>
            <a:lstStyle/>
            <a:p>
              <a:endParaRPr lang="de-AT"/>
            </a:p>
          </p:txBody>
        </p:sp>
        <p:sp>
          <p:nvSpPr>
            <p:cNvPr id="46" name="Freihandform: Form 45">
              <a:extLst>
                <a:ext uri="{FF2B5EF4-FFF2-40B4-BE49-F238E27FC236}">
                  <a16:creationId xmlns:a16="http://schemas.microsoft.com/office/drawing/2014/main" id="{50F2D15D-D910-464C-8297-AAEDCFA8F25E}"/>
                </a:ext>
              </a:extLst>
            </p:cNvPr>
            <p:cNvSpPr/>
            <p:nvPr/>
          </p:nvSpPr>
          <p:spPr bwMode="gray">
            <a:xfrm>
              <a:off x="6902087" y="5720546"/>
              <a:ext cx="226826" cy="231552"/>
            </a:xfrm>
            <a:custGeom>
              <a:avLst/>
              <a:gdLst>
                <a:gd name="connsiteX0" fmla="*/ 155943 w 226826"/>
                <a:gd name="connsiteY0" fmla="*/ 118139 h 231552"/>
                <a:gd name="connsiteX1" fmla="*/ 103962 w 226826"/>
                <a:gd name="connsiteY1" fmla="*/ 127590 h 231552"/>
                <a:gd name="connsiteX2" fmla="*/ 61432 w 226826"/>
                <a:gd name="connsiteY2" fmla="*/ 160669 h 231552"/>
                <a:gd name="connsiteX3" fmla="*/ 94511 w 226826"/>
                <a:gd name="connsiteY3" fmla="*/ 184297 h 231552"/>
                <a:gd name="connsiteX4" fmla="*/ 151218 w 226826"/>
                <a:gd name="connsiteY4" fmla="*/ 137041 h 231552"/>
                <a:gd name="connsiteX5" fmla="*/ 155943 w 226826"/>
                <a:gd name="connsiteY5" fmla="*/ 118139 h 231552"/>
                <a:gd name="connsiteX6" fmla="*/ 33079 w 226826"/>
                <a:gd name="connsiteY6" fmla="*/ 70883 h 231552"/>
                <a:gd name="connsiteX7" fmla="*/ 137041 w 226826"/>
                <a:gd name="connsiteY7" fmla="*/ 0 h 231552"/>
                <a:gd name="connsiteX8" fmla="*/ 226827 w 226826"/>
                <a:gd name="connsiteY8" fmla="*/ 56707 h 231552"/>
                <a:gd name="connsiteX9" fmla="*/ 222101 w 226826"/>
                <a:gd name="connsiteY9" fmla="*/ 94511 h 231552"/>
                <a:gd name="connsiteX10" fmla="*/ 198474 w 226826"/>
                <a:gd name="connsiteY10" fmla="*/ 179571 h 231552"/>
                <a:gd name="connsiteX11" fmla="*/ 193748 w 226826"/>
                <a:gd name="connsiteY11" fmla="*/ 207925 h 231552"/>
                <a:gd name="connsiteX12" fmla="*/ 193748 w 226826"/>
                <a:gd name="connsiteY12" fmla="*/ 222102 h 231552"/>
                <a:gd name="connsiteX13" fmla="*/ 137041 w 226826"/>
                <a:gd name="connsiteY13" fmla="*/ 222102 h 231552"/>
                <a:gd name="connsiteX14" fmla="*/ 137041 w 226826"/>
                <a:gd name="connsiteY14" fmla="*/ 203199 h 231552"/>
                <a:gd name="connsiteX15" fmla="*/ 70884 w 226826"/>
                <a:gd name="connsiteY15" fmla="*/ 231553 h 231552"/>
                <a:gd name="connsiteX16" fmla="*/ 0 w 226826"/>
                <a:gd name="connsiteY16" fmla="*/ 174846 h 231552"/>
                <a:gd name="connsiteX17" fmla="*/ 80334 w 226826"/>
                <a:gd name="connsiteY17" fmla="*/ 103962 h 231552"/>
                <a:gd name="connsiteX18" fmla="*/ 160669 w 226826"/>
                <a:gd name="connsiteY18" fmla="*/ 70883 h 231552"/>
                <a:gd name="connsiteX19" fmla="*/ 122865 w 226826"/>
                <a:gd name="connsiteY19" fmla="*/ 42530 h 231552"/>
                <a:gd name="connsiteX20" fmla="*/ 80334 w 226826"/>
                <a:gd name="connsiteY20" fmla="*/ 75609 h 231552"/>
                <a:gd name="connsiteX21" fmla="*/ 33079 w 226826"/>
                <a:gd name="connsiteY21" fmla="*/ 75609 h 23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6826" h="231552">
                  <a:moveTo>
                    <a:pt x="155943" y="118139"/>
                  </a:moveTo>
                  <a:cubicBezTo>
                    <a:pt x="141767" y="127590"/>
                    <a:pt x="122865" y="127590"/>
                    <a:pt x="103962" y="127590"/>
                  </a:cubicBezTo>
                  <a:cubicBezTo>
                    <a:pt x="80334" y="132316"/>
                    <a:pt x="61432" y="137041"/>
                    <a:pt x="61432" y="160669"/>
                  </a:cubicBezTo>
                  <a:cubicBezTo>
                    <a:pt x="61432" y="174846"/>
                    <a:pt x="75609" y="184297"/>
                    <a:pt x="94511" y="184297"/>
                  </a:cubicBezTo>
                  <a:cubicBezTo>
                    <a:pt x="132316" y="184297"/>
                    <a:pt x="141767" y="160669"/>
                    <a:pt x="151218" y="137041"/>
                  </a:cubicBezTo>
                  <a:lnTo>
                    <a:pt x="155943" y="118139"/>
                  </a:lnTo>
                  <a:close/>
                  <a:moveTo>
                    <a:pt x="33079" y="70883"/>
                  </a:moveTo>
                  <a:cubicBezTo>
                    <a:pt x="42530" y="18902"/>
                    <a:pt x="85060" y="0"/>
                    <a:pt x="137041" y="0"/>
                  </a:cubicBezTo>
                  <a:cubicBezTo>
                    <a:pt x="174846" y="0"/>
                    <a:pt x="226827" y="9451"/>
                    <a:pt x="226827" y="56707"/>
                  </a:cubicBezTo>
                  <a:cubicBezTo>
                    <a:pt x="226827" y="66158"/>
                    <a:pt x="226827" y="80335"/>
                    <a:pt x="222101" y="94511"/>
                  </a:cubicBezTo>
                  <a:lnTo>
                    <a:pt x="198474" y="179571"/>
                  </a:lnTo>
                  <a:cubicBezTo>
                    <a:pt x="198474" y="189023"/>
                    <a:pt x="193748" y="198474"/>
                    <a:pt x="193748" y="207925"/>
                  </a:cubicBezTo>
                  <a:cubicBezTo>
                    <a:pt x="193748" y="212650"/>
                    <a:pt x="193748" y="217376"/>
                    <a:pt x="193748" y="222102"/>
                  </a:cubicBezTo>
                  <a:lnTo>
                    <a:pt x="137041" y="222102"/>
                  </a:lnTo>
                  <a:lnTo>
                    <a:pt x="137041" y="203199"/>
                  </a:lnTo>
                  <a:cubicBezTo>
                    <a:pt x="122865" y="222102"/>
                    <a:pt x="94511" y="231553"/>
                    <a:pt x="70884" y="231553"/>
                  </a:cubicBezTo>
                  <a:cubicBezTo>
                    <a:pt x="23628" y="231553"/>
                    <a:pt x="0" y="203199"/>
                    <a:pt x="0" y="174846"/>
                  </a:cubicBezTo>
                  <a:cubicBezTo>
                    <a:pt x="0" y="132316"/>
                    <a:pt x="33079" y="108688"/>
                    <a:pt x="80334" y="103962"/>
                  </a:cubicBezTo>
                  <a:cubicBezTo>
                    <a:pt x="137041" y="99237"/>
                    <a:pt x="160669" y="99237"/>
                    <a:pt x="160669" y="70883"/>
                  </a:cubicBezTo>
                  <a:cubicBezTo>
                    <a:pt x="160669" y="51981"/>
                    <a:pt x="137041" y="42530"/>
                    <a:pt x="122865" y="42530"/>
                  </a:cubicBezTo>
                  <a:cubicBezTo>
                    <a:pt x="103962" y="42530"/>
                    <a:pt x="85060" y="51981"/>
                    <a:pt x="80334" y="75609"/>
                  </a:cubicBezTo>
                  <a:lnTo>
                    <a:pt x="33079" y="75609"/>
                  </a:lnTo>
                  <a:close/>
                </a:path>
              </a:pathLst>
            </a:custGeom>
            <a:solidFill>
              <a:srgbClr val="000000"/>
            </a:solidFill>
            <a:ln w="47234" cap="flat">
              <a:noFill/>
              <a:prstDash val="solid"/>
              <a:miter/>
            </a:ln>
          </p:spPr>
          <p:txBody>
            <a:bodyPr rtlCol="0" anchor="ctr"/>
            <a:lstStyle/>
            <a:p>
              <a:endParaRPr lang="de-AT"/>
            </a:p>
          </p:txBody>
        </p:sp>
        <p:sp>
          <p:nvSpPr>
            <p:cNvPr id="47" name="Freihandform: Form 46">
              <a:extLst>
                <a:ext uri="{FF2B5EF4-FFF2-40B4-BE49-F238E27FC236}">
                  <a16:creationId xmlns:a16="http://schemas.microsoft.com/office/drawing/2014/main" id="{22487639-A44F-492A-B762-A98E4322B347}"/>
                </a:ext>
              </a:extLst>
            </p:cNvPr>
            <p:cNvSpPr/>
            <p:nvPr/>
          </p:nvSpPr>
          <p:spPr bwMode="gray">
            <a:xfrm>
              <a:off x="7384094" y="5725271"/>
              <a:ext cx="217375" cy="226827"/>
            </a:xfrm>
            <a:custGeom>
              <a:avLst/>
              <a:gdLst>
                <a:gd name="connsiteX0" fmla="*/ 170120 w 217375"/>
                <a:gd name="connsiteY0" fmla="*/ 85060 h 226827"/>
                <a:gd name="connsiteX1" fmla="*/ 132316 w 217375"/>
                <a:gd name="connsiteY1" fmla="*/ 37804 h 226827"/>
                <a:gd name="connsiteX2" fmla="*/ 75609 w 217375"/>
                <a:gd name="connsiteY2" fmla="*/ 85060 h 226827"/>
                <a:gd name="connsiteX3" fmla="*/ 170120 w 217375"/>
                <a:gd name="connsiteY3" fmla="*/ 85060 h 226827"/>
                <a:gd name="connsiteX4" fmla="*/ 61433 w 217375"/>
                <a:gd name="connsiteY4" fmla="*/ 122865 h 226827"/>
                <a:gd name="connsiteX5" fmla="*/ 61433 w 217375"/>
                <a:gd name="connsiteY5" fmla="*/ 137041 h 226827"/>
                <a:gd name="connsiteX6" fmla="*/ 108688 w 217375"/>
                <a:gd name="connsiteY6" fmla="*/ 179571 h 226827"/>
                <a:gd name="connsiteX7" fmla="*/ 151218 w 217375"/>
                <a:gd name="connsiteY7" fmla="*/ 151218 h 226827"/>
                <a:gd name="connsiteX8" fmla="*/ 207925 w 217375"/>
                <a:gd name="connsiteY8" fmla="*/ 151218 h 226827"/>
                <a:gd name="connsiteX9" fmla="*/ 94511 w 217375"/>
                <a:gd name="connsiteY9" fmla="*/ 226827 h 226827"/>
                <a:gd name="connsiteX10" fmla="*/ 0 w 217375"/>
                <a:gd name="connsiteY10" fmla="*/ 132316 h 226827"/>
                <a:gd name="connsiteX11" fmla="*/ 118139 w 217375"/>
                <a:gd name="connsiteY11" fmla="*/ 0 h 226827"/>
                <a:gd name="connsiteX12" fmla="*/ 217376 w 217375"/>
                <a:gd name="connsiteY12" fmla="*/ 94511 h 226827"/>
                <a:gd name="connsiteX13" fmla="*/ 212651 w 217375"/>
                <a:gd name="connsiteY13" fmla="*/ 127590 h 226827"/>
                <a:gd name="connsiteX14" fmla="*/ 61433 w 217375"/>
                <a:gd name="connsiteY14" fmla="*/ 127590 h 22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375" h="226827">
                  <a:moveTo>
                    <a:pt x="170120" y="85060"/>
                  </a:moveTo>
                  <a:cubicBezTo>
                    <a:pt x="170120" y="61432"/>
                    <a:pt x="165395" y="37804"/>
                    <a:pt x="132316" y="37804"/>
                  </a:cubicBezTo>
                  <a:cubicBezTo>
                    <a:pt x="99237" y="37804"/>
                    <a:pt x="80334" y="61432"/>
                    <a:pt x="75609" y="85060"/>
                  </a:cubicBezTo>
                  <a:lnTo>
                    <a:pt x="170120" y="85060"/>
                  </a:lnTo>
                  <a:close/>
                  <a:moveTo>
                    <a:pt x="61433" y="122865"/>
                  </a:moveTo>
                  <a:cubicBezTo>
                    <a:pt x="61433" y="127590"/>
                    <a:pt x="61433" y="132316"/>
                    <a:pt x="61433" y="137041"/>
                  </a:cubicBezTo>
                  <a:cubicBezTo>
                    <a:pt x="61433" y="160669"/>
                    <a:pt x="75609" y="179571"/>
                    <a:pt x="108688" y="179571"/>
                  </a:cubicBezTo>
                  <a:cubicBezTo>
                    <a:pt x="132316" y="179571"/>
                    <a:pt x="141767" y="165395"/>
                    <a:pt x="151218" y="151218"/>
                  </a:cubicBezTo>
                  <a:lnTo>
                    <a:pt x="207925" y="151218"/>
                  </a:lnTo>
                  <a:cubicBezTo>
                    <a:pt x="189023" y="198474"/>
                    <a:pt x="160669" y="226827"/>
                    <a:pt x="94511" y="226827"/>
                  </a:cubicBezTo>
                  <a:cubicBezTo>
                    <a:pt x="37805" y="226827"/>
                    <a:pt x="0" y="193748"/>
                    <a:pt x="0" y="132316"/>
                  </a:cubicBezTo>
                  <a:cubicBezTo>
                    <a:pt x="0" y="66158"/>
                    <a:pt x="47256" y="0"/>
                    <a:pt x="118139" y="0"/>
                  </a:cubicBezTo>
                  <a:cubicBezTo>
                    <a:pt x="179572" y="0"/>
                    <a:pt x="217376" y="33079"/>
                    <a:pt x="217376" y="94511"/>
                  </a:cubicBezTo>
                  <a:cubicBezTo>
                    <a:pt x="217376" y="103962"/>
                    <a:pt x="217376" y="118139"/>
                    <a:pt x="212651" y="127590"/>
                  </a:cubicBezTo>
                  <a:lnTo>
                    <a:pt x="61433" y="127590"/>
                  </a:lnTo>
                  <a:close/>
                </a:path>
              </a:pathLst>
            </a:custGeom>
            <a:solidFill>
              <a:srgbClr val="000000"/>
            </a:solidFill>
            <a:ln w="47234" cap="flat">
              <a:noFill/>
              <a:prstDash val="solid"/>
              <a:miter/>
            </a:ln>
          </p:spPr>
          <p:txBody>
            <a:bodyPr rtlCol="0" anchor="ctr"/>
            <a:lstStyle/>
            <a:p>
              <a:endParaRPr lang="de-AT"/>
            </a:p>
          </p:txBody>
        </p:sp>
        <p:sp>
          <p:nvSpPr>
            <p:cNvPr id="48" name="Freihandform: Form 47">
              <a:extLst>
                <a:ext uri="{FF2B5EF4-FFF2-40B4-BE49-F238E27FC236}">
                  <a16:creationId xmlns:a16="http://schemas.microsoft.com/office/drawing/2014/main" id="{DD5E37B3-33D9-4676-91BD-2B320D26D011}"/>
                </a:ext>
              </a:extLst>
            </p:cNvPr>
            <p:cNvSpPr/>
            <p:nvPr/>
          </p:nvSpPr>
          <p:spPr bwMode="gray">
            <a:xfrm>
              <a:off x="7634549" y="5720546"/>
              <a:ext cx="226826" cy="222101"/>
            </a:xfrm>
            <a:custGeom>
              <a:avLst/>
              <a:gdLst>
                <a:gd name="connsiteX0" fmla="*/ 37804 w 226826"/>
                <a:gd name="connsiteY0" fmla="*/ 9451 h 222101"/>
                <a:gd name="connsiteX1" fmla="*/ 94511 w 226826"/>
                <a:gd name="connsiteY1" fmla="*/ 9451 h 222101"/>
                <a:gd name="connsiteX2" fmla="*/ 89785 w 226826"/>
                <a:gd name="connsiteY2" fmla="*/ 37804 h 222101"/>
                <a:gd name="connsiteX3" fmla="*/ 89785 w 226826"/>
                <a:gd name="connsiteY3" fmla="*/ 37804 h 222101"/>
                <a:gd name="connsiteX4" fmla="*/ 165395 w 226826"/>
                <a:gd name="connsiteY4" fmla="*/ 0 h 222101"/>
                <a:gd name="connsiteX5" fmla="*/ 226827 w 226826"/>
                <a:gd name="connsiteY5" fmla="*/ 56707 h 222101"/>
                <a:gd name="connsiteX6" fmla="*/ 222101 w 226826"/>
                <a:gd name="connsiteY6" fmla="*/ 94511 h 222101"/>
                <a:gd name="connsiteX7" fmla="*/ 193748 w 226826"/>
                <a:gd name="connsiteY7" fmla="*/ 222102 h 222101"/>
                <a:gd name="connsiteX8" fmla="*/ 137041 w 226826"/>
                <a:gd name="connsiteY8" fmla="*/ 222102 h 222101"/>
                <a:gd name="connsiteX9" fmla="*/ 165395 w 226826"/>
                <a:gd name="connsiteY9" fmla="*/ 94511 h 222101"/>
                <a:gd name="connsiteX10" fmla="*/ 170120 w 226826"/>
                <a:gd name="connsiteY10" fmla="*/ 66158 h 222101"/>
                <a:gd name="connsiteX11" fmla="*/ 141767 w 226826"/>
                <a:gd name="connsiteY11" fmla="*/ 42530 h 222101"/>
                <a:gd name="connsiteX12" fmla="*/ 80334 w 226826"/>
                <a:gd name="connsiteY12" fmla="*/ 103962 h 222101"/>
                <a:gd name="connsiteX13" fmla="*/ 56707 w 226826"/>
                <a:gd name="connsiteY13" fmla="*/ 217376 h 222101"/>
                <a:gd name="connsiteX14" fmla="*/ 0 w 226826"/>
                <a:gd name="connsiteY14" fmla="*/ 217376 h 222101"/>
                <a:gd name="connsiteX15" fmla="*/ 37804 w 226826"/>
                <a:gd name="connsiteY15" fmla="*/ 9451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222101">
                  <a:moveTo>
                    <a:pt x="37804" y="9451"/>
                  </a:moveTo>
                  <a:lnTo>
                    <a:pt x="94511" y="9451"/>
                  </a:lnTo>
                  <a:lnTo>
                    <a:pt x="89785" y="37804"/>
                  </a:lnTo>
                  <a:lnTo>
                    <a:pt x="89785" y="37804"/>
                  </a:lnTo>
                  <a:cubicBezTo>
                    <a:pt x="108688" y="14177"/>
                    <a:pt x="132316" y="0"/>
                    <a:pt x="165395" y="0"/>
                  </a:cubicBezTo>
                  <a:cubicBezTo>
                    <a:pt x="207925" y="0"/>
                    <a:pt x="226827" y="18902"/>
                    <a:pt x="226827" y="56707"/>
                  </a:cubicBezTo>
                  <a:cubicBezTo>
                    <a:pt x="226827" y="66158"/>
                    <a:pt x="222101" y="85060"/>
                    <a:pt x="222101" y="94511"/>
                  </a:cubicBezTo>
                  <a:lnTo>
                    <a:pt x="193748" y="222102"/>
                  </a:lnTo>
                  <a:lnTo>
                    <a:pt x="137041" y="222102"/>
                  </a:lnTo>
                  <a:lnTo>
                    <a:pt x="165395" y="94511"/>
                  </a:lnTo>
                  <a:cubicBezTo>
                    <a:pt x="165395" y="89786"/>
                    <a:pt x="170120" y="75609"/>
                    <a:pt x="170120" y="66158"/>
                  </a:cubicBezTo>
                  <a:cubicBezTo>
                    <a:pt x="170120" y="51981"/>
                    <a:pt x="155943" y="42530"/>
                    <a:pt x="141767" y="42530"/>
                  </a:cubicBezTo>
                  <a:cubicBezTo>
                    <a:pt x="103962" y="42530"/>
                    <a:pt x="89785" y="70883"/>
                    <a:pt x="80334" y="103962"/>
                  </a:cubicBezTo>
                  <a:lnTo>
                    <a:pt x="56707" y="217376"/>
                  </a:lnTo>
                  <a:lnTo>
                    <a:pt x="0" y="217376"/>
                  </a:lnTo>
                  <a:lnTo>
                    <a:pt x="37804" y="9451"/>
                  </a:lnTo>
                  <a:close/>
                </a:path>
              </a:pathLst>
            </a:custGeom>
            <a:solidFill>
              <a:srgbClr val="000000"/>
            </a:solidFill>
            <a:ln w="47234" cap="flat">
              <a:noFill/>
              <a:prstDash val="solid"/>
              <a:miter/>
            </a:ln>
          </p:spPr>
          <p:txBody>
            <a:bodyPr rtlCol="0" anchor="ctr"/>
            <a:lstStyle/>
            <a:p>
              <a:endParaRPr lang="de-AT"/>
            </a:p>
          </p:txBody>
        </p:sp>
        <p:sp>
          <p:nvSpPr>
            <p:cNvPr id="49" name="Freihandform: Form 48">
              <a:extLst>
                <a:ext uri="{FF2B5EF4-FFF2-40B4-BE49-F238E27FC236}">
                  <a16:creationId xmlns:a16="http://schemas.microsoft.com/office/drawing/2014/main" id="{24F43E37-A584-4A1F-8ED4-762F21B2100D}"/>
                </a:ext>
              </a:extLst>
            </p:cNvPr>
            <p:cNvSpPr/>
            <p:nvPr/>
          </p:nvSpPr>
          <p:spPr bwMode="gray">
            <a:xfrm>
              <a:off x="7889730" y="5720546"/>
              <a:ext cx="255180" cy="307161"/>
            </a:xfrm>
            <a:custGeom>
              <a:avLst/>
              <a:gdLst>
                <a:gd name="connsiteX0" fmla="*/ 70884 w 255180"/>
                <a:gd name="connsiteY0" fmla="*/ 127590 h 307161"/>
                <a:gd name="connsiteX1" fmla="*/ 108688 w 255180"/>
                <a:gd name="connsiteY1" fmla="*/ 174846 h 307161"/>
                <a:gd name="connsiteX2" fmla="*/ 170121 w 255180"/>
                <a:gd name="connsiteY2" fmla="*/ 94511 h 307161"/>
                <a:gd name="connsiteX3" fmla="*/ 127591 w 255180"/>
                <a:gd name="connsiteY3" fmla="*/ 47256 h 307161"/>
                <a:gd name="connsiteX4" fmla="*/ 70884 w 255180"/>
                <a:gd name="connsiteY4" fmla="*/ 127590 h 307161"/>
                <a:gd name="connsiteX5" fmla="*/ 207925 w 255180"/>
                <a:gd name="connsiteY5" fmla="*/ 212650 h 307161"/>
                <a:gd name="connsiteX6" fmla="*/ 89786 w 255180"/>
                <a:gd name="connsiteY6" fmla="*/ 307162 h 307161"/>
                <a:gd name="connsiteX7" fmla="*/ 0 w 255180"/>
                <a:gd name="connsiteY7" fmla="*/ 236278 h 307161"/>
                <a:gd name="connsiteX8" fmla="*/ 56707 w 255180"/>
                <a:gd name="connsiteY8" fmla="*/ 236278 h 307161"/>
                <a:gd name="connsiteX9" fmla="*/ 94511 w 255180"/>
                <a:gd name="connsiteY9" fmla="*/ 264632 h 307161"/>
                <a:gd name="connsiteX10" fmla="*/ 155944 w 255180"/>
                <a:gd name="connsiteY10" fmla="*/ 189023 h 307161"/>
                <a:gd name="connsiteX11" fmla="*/ 155944 w 255180"/>
                <a:gd name="connsiteY11" fmla="*/ 189023 h 307161"/>
                <a:gd name="connsiteX12" fmla="*/ 99237 w 255180"/>
                <a:gd name="connsiteY12" fmla="*/ 217376 h 307161"/>
                <a:gd name="connsiteX13" fmla="*/ 18902 w 255180"/>
                <a:gd name="connsiteY13" fmla="*/ 127590 h 307161"/>
                <a:gd name="connsiteX14" fmla="*/ 127591 w 255180"/>
                <a:gd name="connsiteY14" fmla="*/ 0 h 307161"/>
                <a:gd name="connsiteX15" fmla="*/ 193749 w 255180"/>
                <a:gd name="connsiteY15" fmla="*/ 37804 h 307161"/>
                <a:gd name="connsiteX16" fmla="*/ 193749 w 255180"/>
                <a:gd name="connsiteY16" fmla="*/ 37804 h 307161"/>
                <a:gd name="connsiteX17" fmla="*/ 198474 w 255180"/>
                <a:gd name="connsiteY17" fmla="*/ 4725 h 307161"/>
                <a:gd name="connsiteX18" fmla="*/ 255181 w 255180"/>
                <a:gd name="connsiteY18" fmla="*/ 4725 h 307161"/>
                <a:gd name="connsiteX19" fmla="*/ 207925 w 255180"/>
                <a:gd name="connsiteY19" fmla="*/ 212650 h 3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180" h="307161">
                  <a:moveTo>
                    <a:pt x="70884" y="127590"/>
                  </a:moveTo>
                  <a:cubicBezTo>
                    <a:pt x="70884" y="151218"/>
                    <a:pt x="85060" y="174846"/>
                    <a:pt x="108688" y="174846"/>
                  </a:cubicBezTo>
                  <a:cubicBezTo>
                    <a:pt x="151218" y="174846"/>
                    <a:pt x="170121" y="127590"/>
                    <a:pt x="170121" y="94511"/>
                  </a:cubicBezTo>
                  <a:cubicBezTo>
                    <a:pt x="170121" y="66158"/>
                    <a:pt x="155944" y="47256"/>
                    <a:pt x="127591" y="47256"/>
                  </a:cubicBezTo>
                  <a:cubicBezTo>
                    <a:pt x="89786" y="47256"/>
                    <a:pt x="70884" y="94511"/>
                    <a:pt x="70884" y="127590"/>
                  </a:cubicBezTo>
                  <a:moveTo>
                    <a:pt x="207925" y="212650"/>
                  </a:moveTo>
                  <a:cubicBezTo>
                    <a:pt x="193749" y="278808"/>
                    <a:pt x="160669" y="307162"/>
                    <a:pt x="89786" y="307162"/>
                  </a:cubicBezTo>
                  <a:cubicBezTo>
                    <a:pt x="47256" y="307162"/>
                    <a:pt x="0" y="288259"/>
                    <a:pt x="0" y="236278"/>
                  </a:cubicBezTo>
                  <a:lnTo>
                    <a:pt x="56707" y="236278"/>
                  </a:lnTo>
                  <a:cubicBezTo>
                    <a:pt x="56707" y="259906"/>
                    <a:pt x="75609" y="264632"/>
                    <a:pt x="94511" y="264632"/>
                  </a:cubicBezTo>
                  <a:cubicBezTo>
                    <a:pt x="132316" y="264632"/>
                    <a:pt x="141767" y="231553"/>
                    <a:pt x="155944" y="189023"/>
                  </a:cubicBezTo>
                  <a:lnTo>
                    <a:pt x="155944" y="189023"/>
                  </a:lnTo>
                  <a:cubicBezTo>
                    <a:pt x="141767" y="207925"/>
                    <a:pt x="122865" y="217376"/>
                    <a:pt x="99237" y="217376"/>
                  </a:cubicBezTo>
                  <a:cubicBezTo>
                    <a:pt x="47256" y="217376"/>
                    <a:pt x="18902" y="184297"/>
                    <a:pt x="18902" y="127590"/>
                  </a:cubicBezTo>
                  <a:cubicBezTo>
                    <a:pt x="18902" y="66158"/>
                    <a:pt x="56707" y="0"/>
                    <a:pt x="127591" y="0"/>
                  </a:cubicBezTo>
                  <a:cubicBezTo>
                    <a:pt x="155944" y="0"/>
                    <a:pt x="179572" y="9451"/>
                    <a:pt x="193749" y="37804"/>
                  </a:cubicBezTo>
                  <a:lnTo>
                    <a:pt x="193749" y="37804"/>
                  </a:lnTo>
                  <a:lnTo>
                    <a:pt x="198474" y="4725"/>
                  </a:lnTo>
                  <a:lnTo>
                    <a:pt x="255181" y="4725"/>
                  </a:lnTo>
                  <a:lnTo>
                    <a:pt x="207925" y="212650"/>
                  </a:lnTo>
                  <a:close/>
                </a:path>
              </a:pathLst>
            </a:custGeom>
            <a:solidFill>
              <a:srgbClr val="000000"/>
            </a:solidFill>
            <a:ln w="47234" cap="flat">
              <a:noFill/>
              <a:prstDash val="solid"/>
              <a:miter/>
            </a:ln>
          </p:spPr>
          <p:txBody>
            <a:bodyPr rtlCol="0" anchor="ctr"/>
            <a:lstStyle/>
            <a:p>
              <a:endParaRPr lang="de-AT"/>
            </a:p>
          </p:txBody>
        </p:sp>
        <p:sp>
          <p:nvSpPr>
            <p:cNvPr id="50" name="Freihandform: Form 49">
              <a:extLst>
                <a:ext uri="{FF2B5EF4-FFF2-40B4-BE49-F238E27FC236}">
                  <a16:creationId xmlns:a16="http://schemas.microsoft.com/office/drawing/2014/main" id="{41EEDC37-6967-48EB-A735-548040239C0F}"/>
                </a:ext>
              </a:extLst>
            </p:cNvPr>
            <p:cNvSpPr/>
            <p:nvPr/>
          </p:nvSpPr>
          <p:spPr bwMode="gray">
            <a:xfrm>
              <a:off x="8272501" y="5720546"/>
              <a:ext cx="226826" cy="222101"/>
            </a:xfrm>
            <a:custGeom>
              <a:avLst/>
              <a:gdLst>
                <a:gd name="connsiteX0" fmla="*/ 37804 w 226826"/>
                <a:gd name="connsiteY0" fmla="*/ 9451 h 222101"/>
                <a:gd name="connsiteX1" fmla="*/ 94511 w 226826"/>
                <a:gd name="connsiteY1" fmla="*/ 9451 h 222101"/>
                <a:gd name="connsiteX2" fmla="*/ 89785 w 226826"/>
                <a:gd name="connsiteY2" fmla="*/ 37804 h 222101"/>
                <a:gd name="connsiteX3" fmla="*/ 89785 w 226826"/>
                <a:gd name="connsiteY3" fmla="*/ 37804 h 222101"/>
                <a:gd name="connsiteX4" fmla="*/ 165395 w 226826"/>
                <a:gd name="connsiteY4" fmla="*/ 0 h 222101"/>
                <a:gd name="connsiteX5" fmla="*/ 226827 w 226826"/>
                <a:gd name="connsiteY5" fmla="*/ 56707 h 222101"/>
                <a:gd name="connsiteX6" fmla="*/ 222101 w 226826"/>
                <a:gd name="connsiteY6" fmla="*/ 94511 h 222101"/>
                <a:gd name="connsiteX7" fmla="*/ 193748 w 226826"/>
                <a:gd name="connsiteY7" fmla="*/ 222102 h 222101"/>
                <a:gd name="connsiteX8" fmla="*/ 137041 w 226826"/>
                <a:gd name="connsiteY8" fmla="*/ 222102 h 222101"/>
                <a:gd name="connsiteX9" fmla="*/ 165395 w 226826"/>
                <a:gd name="connsiteY9" fmla="*/ 94511 h 222101"/>
                <a:gd name="connsiteX10" fmla="*/ 170120 w 226826"/>
                <a:gd name="connsiteY10" fmla="*/ 66158 h 222101"/>
                <a:gd name="connsiteX11" fmla="*/ 141767 w 226826"/>
                <a:gd name="connsiteY11" fmla="*/ 42530 h 222101"/>
                <a:gd name="connsiteX12" fmla="*/ 80334 w 226826"/>
                <a:gd name="connsiteY12" fmla="*/ 103962 h 222101"/>
                <a:gd name="connsiteX13" fmla="*/ 56707 w 226826"/>
                <a:gd name="connsiteY13" fmla="*/ 217376 h 222101"/>
                <a:gd name="connsiteX14" fmla="*/ 0 w 226826"/>
                <a:gd name="connsiteY14" fmla="*/ 217376 h 222101"/>
                <a:gd name="connsiteX15" fmla="*/ 37804 w 226826"/>
                <a:gd name="connsiteY15" fmla="*/ 9451 h 22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826" h="222101">
                  <a:moveTo>
                    <a:pt x="37804" y="9451"/>
                  </a:moveTo>
                  <a:lnTo>
                    <a:pt x="94511" y="9451"/>
                  </a:lnTo>
                  <a:lnTo>
                    <a:pt x="89785" y="37804"/>
                  </a:lnTo>
                  <a:lnTo>
                    <a:pt x="89785" y="37804"/>
                  </a:lnTo>
                  <a:cubicBezTo>
                    <a:pt x="108688" y="14177"/>
                    <a:pt x="132316" y="0"/>
                    <a:pt x="165395" y="0"/>
                  </a:cubicBezTo>
                  <a:cubicBezTo>
                    <a:pt x="207925" y="0"/>
                    <a:pt x="226827" y="18902"/>
                    <a:pt x="226827" y="56707"/>
                  </a:cubicBezTo>
                  <a:cubicBezTo>
                    <a:pt x="226827" y="66158"/>
                    <a:pt x="222101" y="85060"/>
                    <a:pt x="222101" y="94511"/>
                  </a:cubicBezTo>
                  <a:lnTo>
                    <a:pt x="193748" y="222102"/>
                  </a:lnTo>
                  <a:lnTo>
                    <a:pt x="137041" y="222102"/>
                  </a:lnTo>
                  <a:lnTo>
                    <a:pt x="165395" y="94511"/>
                  </a:lnTo>
                  <a:cubicBezTo>
                    <a:pt x="165395" y="89786"/>
                    <a:pt x="170120" y="75609"/>
                    <a:pt x="170120" y="66158"/>
                  </a:cubicBezTo>
                  <a:cubicBezTo>
                    <a:pt x="170120" y="51981"/>
                    <a:pt x="155943" y="42530"/>
                    <a:pt x="141767" y="42530"/>
                  </a:cubicBezTo>
                  <a:cubicBezTo>
                    <a:pt x="103962" y="42530"/>
                    <a:pt x="89785" y="70883"/>
                    <a:pt x="80334" y="103962"/>
                  </a:cubicBezTo>
                  <a:lnTo>
                    <a:pt x="56707" y="217376"/>
                  </a:lnTo>
                  <a:lnTo>
                    <a:pt x="0" y="217376"/>
                  </a:lnTo>
                  <a:lnTo>
                    <a:pt x="37804" y="9451"/>
                  </a:lnTo>
                  <a:close/>
                </a:path>
              </a:pathLst>
            </a:custGeom>
            <a:solidFill>
              <a:srgbClr val="000000"/>
            </a:solidFill>
            <a:ln w="47234" cap="flat">
              <a:noFill/>
              <a:prstDash val="solid"/>
              <a:miter/>
            </a:ln>
          </p:spPr>
          <p:txBody>
            <a:bodyPr rtlCol="0" anchor="ctr"/>
            <a:lstStyle/>
            <a:p>
              <a:endParaRPr lang="de-AT"/>
            </a:p>
          </p:txBody>
        </p:sp>
        <p:sp>
          <p:nvSpPr>
            <p:cNvPr id="51" name="Freihandform: Form 50">
              <a:extLst>
                <a:ext uri="{FF2B5EF4-FFF2-40B4-BE49-F238E27FC236}">
                  <a16:creationId xmlns:a16="http://schemas.microsoft.com/office/drawing/2014/main" id="{4A88EB07-D8C4-45C4-A47C-8E44784E0648}"/>
                </a:ext>
              </a:extLst>
            </p:cNvPr>
            <p:cNvSpPr/>
            <p:nvPr/>
          </p:nvSpPr>
          <p:spPr bwMode="gray">
            <a:xfrm>
              <a:off x="8527681" y="5720546"/>
              <a:ext cx="255180" cy="307161"/>
            </a:xfrm>
            <a:custGeom>
              <a:avLst/>
              <a:gdLst>
                <a:gd name="connsiteX0" fmla="*/ 70884 w 255180"/>
                <a:gd name="connsiteY0" fmla="*/ 127590 h 307161"/>
                <a:gd name="connsiteX1" fmla="*/ 108688 w 255180"/>
                <a:gd name="connsiteY1" fmla="*/ 174846 h 307161"/>
                <a:gd name="connsiteX2" fmla="*/ 170121 w 255180"/>
                <a:gd name="connsiteY2" fmla="*/ 94511 h 307161"/>
                <a:gd name="connsiteX3" fmla="*/ 127591 w 255180"/>
                <a:gd name="connsiteY3" fmla="*/ 47256 h 307161"/>
                <a:gd name="connsiteX4" fmla="*/ 70884 w 255180"/>
                <a:gd name="connsiteY4" fmla="*/ 127590 h 307161"/>
                <a:gd name="connsiteX5" fmla="*/ 207925 w 255180"/>
                <a:gd name="connsiteY5" fmla="*/ 212650 h 307161"/>
                <a:gd name="connsiteX6" fmla="*/ 89786 w 255180"/>
                <a:gd name="connsiteY6" fmla="*/ 307162 h 307161"/>
                <a:gd name="connsiteX7" fmla="*/ 0 w 255180"/>
                <a:gd name="connsiteY7" fmla="*/ 236278 h 307161"/>
                <a:gd name="connsiteX8" fmla="*/ 56707 w 255180"/>
                <a:gd name="connsiteY8" fmla="*/ 236278 h 307161"/>
                <a:gd name="connsiteX9" fmla="*/ 94511 w 255180"/>
                <a:gd name="connsiteY9" fmla="*/ 264632 h 307161"/>
                <a:gd name="connsiteX10" fmla="*/ 155944 w 255180"/>
                <a:gd name="connsiteY10" fmla="*/ 189023 h 307161"/>
                <a:gd name="connsiteX11" fmla="*/ 155944 w 255180"/>
                <a:gd name="connsiteY11" fmla="*/ 189023 h 307161"/>
                <a:gd name="connsiteX12" fmla="*/ 99237 w 255180"/>
                <a:gd name="connsiteY12" fmla="*/ 217376 h 307161"/>
                <a:gd name="connsiteX13" fmla="*/ 18902 w 255180"/>
                <a:gd name="connsiteY13" fmla="*/ 127590 h 307161"/>
                <a:gd name="connsiteX14" fmla="*/ 127591 w 255180"/>
                <a:gd name="connsiteY14" fmla="*/ 0 h 307161"/>
                <a:gd name="connsiteX15" fmla="*/ 193749 w 255180"/>
                <a:gd name="connsiteY15" fmla="*/ 37804 h 307161"/>
                <a:gd name="connsiteX16" fmla="*/ 193749 w 255180"/>
                <a:gd name="connsiteY16" fmla="*/ 37804 h 307161"/>
                <a:gd name="connsiteX17" fmla="*/ 198474 w 255180"/>
                <a:gd name="connsiteY17" fmla="*/ 4725 h 307161"/>
                <a:gd name="connsiteX18" fmla="*/ 255181 w 255180"/>
                <a:gd name="connsiteY18" fmla="*/ 4725 h 307161"/>
                <a:gd name="connsiteX19" fmla="*/ 207925 w 255180"/>
                <a:gd name="connsiteY19" fmla="*/ 212650 h 3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180" h="307161">
                  <a:moveTo>
                    <a:pt x="70884" y="127590"/>
                  </a:moveTo>
                  <a:cubicBezTo>
                    <a:pt x="70884" y="151218"/>
                    <a:pt x="85060" y="174846"/>
                    <a:pt x="108688" y="174846"/>
                  </a:cubicBezTo>
                  <a:cubicBezTo>
                    <a:pt x="151218" y="174846"/>
                    <a:pt x="170121" y="127590"/>
                    <a:pt x="170121" y="94511"/>
                  </a:cubicBezTo>
                  <a:cubicBezTo>
                    <a:pt x="170121" y="66158"/>
                    <a:pt x="155944" y="47256"/>
                    <a:pt x="127591" y="47256"/>
                  </a:cubicBezTo>
                  <a:cubicBezTo>
                    <a:pt x="94511" y="47256"/>
                    <a:pt x="70884" y="94511"/>
                    <a:pt x="70884" y="127590"/>
                  </a:cubicBezTo>
                  <a:moveTo>
                    <a:pt x="207925" y="212650"/>
                  </a:moveTo>
                  <a:cubicBezTo>
                    <a:pt x="193749" y="278808"/>
                    <a:pt x="160669" y="307162"/>
                    <a:pt x="89786" y="307162"/>
                  </a:cubicBezTo>
                  <a:cubicBezTo>
                    <a:pt x="47256" y="307162"/>
                    <a:pt x="0" y="288259"/>
                    <a:pt x="0" y="236278"/>
                  </a:cubicBezTo>
                  <a:lnTo>
                    <a:pt x="56707" y="236278"/>
                  </a:lnTo>
                  <a:cubicBezTo>
                    <a:pt x="56707" y="259906"/>
                    <a:pt x="75609" y="264632"/>
                    <a:pt x="94511" y="264632"/>
                  </a:cubicBezTo>
                  <a:cubicBezTo>
                    <a:pt x="132316" y="264632"/>
                    <a:pt x="141767" y="231553"/>
                    <a:pt x="155944" y="189023"/>
                  </a:cubicBezTo>
                  <a:lnTo>
                    <a:pt x="155944" y="189023"/>
                  </a:lnTo>
                  <a:cubicBezTo>
                    <a:pt x="141767" y="207925"/>
                    <a:pt x="122865" y="217376"/>
                    <a:pt x="99237" y="217376"/>
                  </a:cubicBezTo>
                  <a:cubicBezTo>
                    <a:pt x="47256" y="217376"/>
                    <a:pt x="18902" y="184297"/>
                    <a:pt x="18902" y="127590"/>
                  </a:cubicBezTo>
                  <a:cubicBezTo>
                    <a:pt x="18902" y="66158"/>
                    <a:pt x="56707" y="0"/>
                    <a:pt x="127591" y="0"/>
                  </a:cubicBezTo>
                  <a:cubicBezTo>
                    <a:pt x="155944" y="0"/>
                    <a:pt x="179572" y="9451"/>
                    <a:pt x="193749" y="37804"/>
                  </a:cubicBezTo>
                  <a:lnTo>
                    <a:pt x="193749" y="37804"/>
                  </a:lnTo>
                  <a:lnTo>
                    <a:pt x="198474" y="4725"/>
                  </a:lnTo>
                  <a:lnTo>
                    <a:pt x="255181" y="4725"/>
                  </a:lnTo>
                  <a:lnTo>
                    <a:pt x="207925" y="212650"/>
                  </a:lnTo>
                  <a:close/>
                </a:path>
              </a:pathLst>
            </a:custGeom>
            <a:solidFill>
              <a:srgbClr val="000000"/>
            </a:solidFill>
            <a:ln w="47234" cap="flat">
              <a:noFill/>
              <a:prstDash val="solid"/>
              <a:miter/>
            </a:ln>
          </p:spPr>
          <p:txBody>
            <a:bodyPr rtlCol="0" anchor="ctr"/>
            <a:lstStyle/>
            <a:p>
              <a:endParaRPr lang="de-AT"/>
            </a:p>
          </p:txBody>
        </p:sp>
        <p:sp>
          <p:nvSpPr>
            <p:cNvPr id="52" name="Freihandform: Form 51">
              <a:extLst>
                <a:ext uri="{FF2B5EF4-FFF2-40B4-BE49-F238E27FC236}">
                  <a16:creationId xmlns:a16="http://schemas.microsoft.com/office/drawing/2014/main" id="{AFB6FC27-7349-4437-B011-D625F8816037}"/>
                </a:ext>
              </a:extLst>
            </p:cNvPr>
            <p:cNvSpPr/>
            <p:nvPr/>
          </p:nvSpPr>
          <p:spPr bwMode="gray">
            <a:xfrm>
              <a:off x="9146731" y="5720546"/>
              <a:ext cx="359142" cy="217375"/>
            </a:xfrm>
            <a:custGeom>
              <a:avLst/>
              <a:gdLst>
                <a:gd name="connsiteX0" fmla="*/ 42530 w 359142"/>
                <a:gd name="connsiteY0" fmla="*/ 9451 h 217375"/>
                <a:gd name="connsiteX1" fmla="*/ 99236 w 359142"/>
                <a:gd name="connsiteY1" fmla="*/ 9451 h 217375"/>
                <a:gd name="connsiteX2" fmla="*/ 94511 w 359142"/>
                <a:gd name="connsiteY2" fmla="*/ 37804 h 217375"/>
                <a:gd name="connsiteX3" fmla="*/ 94511 w 359142"/>
                <a:gd name="connsiteY3" fmla="*/ 37804 h 217375"/>
                <a:gd name="connsiteX4" fmla="*/ 170120 w 359142"/>
                <a:gd name="connsiteY4" fmla="*/ 0 h 217375"/>
                <a:gd name="connsiteX5" fmla="*/ 222101 w 359142"/>
                <a:gd name="connsiteY5" fmla="*/ 37804 h 217375"/>
                <a:gd name="connsiteX6" fmla="*/ 292985 w 359142"/>
                <a:gd name="connsiteY6" fmla="*/ 0 h 217375"/>
                <a:gd name="connsiteX7" fmla="*/ 359143 w 359142"/>
                <a:gd name="connsiteY7" fmla="*/ 51981 h 217375"/>
                <a:gd name="connsiteX8" fmla="*/ 354418 w 359142"/>
                <a:gd name="connsiteY8" fmla="*/ 89786 h 217375"/>
                <a:gd name="connsiteX9" fmla="*/ 326064 w 359142"/>
                <a:gd name="connsiteY9" fmla="*/ 217376 h 217375"/>
                <a:gd name="connsiteX10" fmla="*/ 269357 w 359142"/>
                <a:gd name="connsiteY10" fmla="*/ 217376 h 217375"/>
                <a:gd name="connsiteX11" fmla="*/ 297711 w 359142"/>
                <a:gd name="connsiteY11" fmla="*/ 80335 h 217375"/>
                <a:gd name="connsiteX12" fmla="*/ 297711 w 359142"/>
                <a:gd name="connsiteY12" fmla="*/ 66158 h 217375"/>
                <a:gd name="connsiteX13" fmla="*/ 274083 w 359142"/>
                <a:gd name="connsiteY13" fmla="*/ 42530 h 217375"/>
                <a:gd name="connsiteX14" fmla="*/ 217376 w 359142"/>
                <a:gd name="connsiteY14" fmla="*/ 99237 h 217375"/>
                <a:gd name="connsiteX15" fmla="*/ 193748 w 359142"/>
                <a:gd name="connsiteY15" fmla="*/ 212650 h 217375"/>
                <a:gd name="connsiteX16" fmla="*/ 132316 w 359142"/>
                <a:gd name="connsiteY16" fmla="*/ 212650 h 217375"/>
                <a:gd name="connsiteX17" fmla="*/ 160669 w 359142"/>
                <a:gd name="connsiteY17" fmla="*/ 75609 h 217375"/>
                <a:gd name="connsiteX18" fmla="*/ 160669 w 359142"/>
                <a:gd name="connsiteY18" fmla="*/ 61432 h 217375"/>
                <a:gd name="connsiteX19" fmla="*/ 137041 w 359142"/>
                <a:gd name="connsiteY19" fmla="*/ 37804 h 217375"/>
                <a:gd name="connsiteX20" fmla="*/ 80334 w 359142"/>
                <a:gd name="connsiteY20" fmla="*/ 94511 h 217375"/>
                <a:gd name="connsiteX21" fmla="*/ 56707 w 359142"/>
                <a:gd name="connsiteY21" fmla="*/ 207925 h 217375"/>
                <a:gd name="connsiteX22" fmla="*/ 0 w 359142"/>
                <a:gd name="connsiteY22" fmla="*/ 207925 h 217375"/>
                <a:gd name="connsiteX23" fmla="*/ 42530 w 359142"/>
                <a:gd name="connsiteY23" fmla="*/ 9451 h 21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9142" h="217375">
                  <a:moveTo>
                    <a:pt x="42530" y="9451"/>
                  </a:moveTo>
                  <a:lnTo>
                    <a:pt x="99236" y="9451"/>
                  </a:lnTo>
                  <a:lnTo>
                    <a:pt x="94511" y="37804"/>
                  </a:lnTo>
                  <a:lnTo>
                    <a:pt x="94511" y="37804"/>
                  </a:lnTo>
                  <a:cubicBezTo>
                    <a:pt x="113413" y="14177"/>
                    <a:pt x="137041" y="0"/>
                    <a:pt x="170120" y="0"/>
                  </a:cubicBezTo>
                  <a:cubicBezTo>
                    <a:pt x="193748" y="0"/>
                    <a:pt x="217376" y="9451"/>
                    <a:pt x="222101" y="37804"/>
                  </a:cubicBezTo>
                  <a:cubicBezTo>
                    <a:pt x="236278" y="14177"/>
                    <a:pt x="269357" y="0"/>
                    <a:pt x="292985" y="0"/>
                  </a:cubicBezTo>
                  <a:cubicBezTo>
                    <a:pt x="326064" y="0"/>
                    <a:pt x="359143" y="18902"/>
                    <a:pt x="359143" y="51981"/>
                  </a:cubicBezTo>
                  <a:cubicBezTo>
                    <a:pt x="359143" y="66158"/>
                    <a:pt x="354418" y="80335"/>
                    <a:pt x="354418" y="89786"/>
                  </a:cubicBezTo>
                  <a:lnTo>
                    <a:pt x="326064" y="217376"/>
                  </a:lnTo>
                  <a:lnTo>
                    <a:pt x="269357" y="217376"/>
                  </a:lnTo>
                  <a:lnTo>
                    <a:pt x="297711" y="80335"/>
                  </a:lnTo>
                  <a:cubicBezTo>
                    <a:pt x="297711" y="75609"/>
                    <a:pt x="297711" y="70883"/>
                    <a:pt x="297711" y="66158"/>
                  </a:cubicBezTo>
                  <a:cubicBezTo>
                    <a:pt x="297711" y="51981"/>
                    <a:pt x="288259" y="42530"/>
                    <a:pt x="274083" y="42530"/>
                  </a:cubicBezTo>
                  <a:cubicBezTo>
                    <a:pt x="241003" y="42530"/>
                    <a:pt x="226827" y="75609"/>
                    <a:pt x="217376" y="99237"/>
                  </a:cubicBezTo>
                  <a:lnTo>
                    <a:pt x="193748" y="212650"/>
                  </a:lnTo>
                  <a:lnTo>
                    <a:pt x="132316" y="212650"/>
                  </a:lnTo>
                  <a:lnTo>
                    <a:pt x="160669" y="75609"/>
                  </a:lnTo>
                  <a:cubicBezTo>
                    <a:pt x="160669" y="70883"/>
                    <a:pt x="160669" y="66158"/>
                    <a:pt x="160669" y="61432"/>
                  </a:cubicBezTo>
                  <a:cubicBezTo>
                    <a:pt x="160669" y="47256"/>
                    <a:pt x="151218" y="37804"/>
                    <a:pt x="137041" y="37804"/>
                  </a:cubicBezTo>
                  <a:cubicBezTo>
                    <a:pt x="103962" y="37804"/>
                    <a:pt x="89785" y="70883"/>
                    <a:pt x="80334" y="94511"/>
                  </a:cubicBezTo>
                  <a:lnTo>
                    <a:pt x="56707" y="207925"/>
                  </a:lnTo>
                  <a:lnTo>
                    <a:pt x="0" y="207925"/>
                  </a:lnTo>
                  <a:lnTo>
                    <a:pt x="42530" y="9451"/>
                  </a:lnTo>
                  <a:close/>
                </a:path>
              </a:pathLst>
            </a:custGeom>
            <a:solidFill>
              <a:srgbClr val="000000"/>
            </a:solidFill>
            <a:ln w="47234" cap="flat">
              <a:noFill/>
              <a:prstDash val="solid"/>
              <a:miter/>
            </a:ln>
          </p:spPr>
          <p:txBody>
            <a:bodyPr rtlCol="0" anchor="ctr"/>
            <a:lstStyle/>
            <a:p>
              <a:endParaRPr lang="de-AT"/>
            </a:p>
          </p:txBody>
        </p:sp>
        <p:sp>
          <p:nvSpPr>
            <p:cNvPr id="53" name="Freihandform: Form 52">
              <a:extLst>
                <a:ext uri="{FF2B5EF4-FFF2-40B4-BE49-F238E27FC236}">
                  <a16:creationId xmlns:a16="http://schemas.microsoft.com/office/drawing/2014/main" id="{88AFDC37-A32F-4BE0-B3E7-867136761F7D}"/>
                </a:ext>
              </a:extLst>
            </p:cNvPr>
            <p:cNvSpPr/>
            <p:nvPr/>
          </p:nvSpPr>
          <p:spPr bwMode="gray">
            <a:xfrm>
              <a:off x="9657092" y="5668565"/>
              <a:ext cx="151217" cy="278808"/>
            </a:xfrm>
            <a:custGeom>
              <a:avLst/>
              <a:gdLst>
                <a:gd name="connsiteX0" fmla="*/ 108687 w 151217"/>
                <a:gd name="connsiteY0" fmla="*/ 61433 h 278808"/>
                <a:gd name="connsiteX1" fmla="*/ 151218 w 151217"/>
                <a:gd name="connsiteY1" fmla="*/ 61433 h 278808"/>
                <a:gd name="connsiteX2" fmla="*/ 141767 w 151217"/>
                <a:gd name="connsiteY2" fmla="*/ 99237 h 278808"/>
                <a:gd name="connsiteX3" fmla="*/ 99236 w 151217"/>
                <a:gd name="connsiteY3" fmla="*/ 99237 h 278808"/>
                <a:gd name="connsiteX4" fmla="*/ 75609 w 151217"/>
                <a:gd name="connsiteY4" fmla="*/ 207925 h 278808"/>
                <a:gd name="connsiteX5" fmla="*/ 75609 w 151217"/>
                <a:gd name="connsiteY5" fmla="*/ 217376 h 278808"/>
                <a:gd name="connsiteX6" fmla="*/ 94511 w 151217"/>
                <a:gd name="connsiteY6" fmla="*/ 231553 h 278808"/>
                <a:gd name="connsiteX7" fmla="*/ 113413 w 151217"/>
                <a:gd name="connsiteY7" fmla="*/ 231553 h 278808"/>
                <a:gd name="connsiteX8" fmla="*/ 103962 w 151217"/>
                <a:gd name="connsiteY8" fmla="*/ 278808 h 278808"/>
                <a:gd name="connsiteX9" fmla="*/ 66158 w 151217"/>
                <a:gd name="connsiteY9" fmla="*/ 278808 h 278808"/>
                <a:gd name="connsiteX10" fmla="*/ 9451 w 151217"/>
                <a:gd name="connsiteY10" fmla="*/ 236278 h 278808"/>
                <a:gd name="connsiteX11" fmla="*/ 14176 w 151217"/>
                <a:gd name="connsiteY11" fmla="*/ 217376 h 278808"/>
                <a:gd name="connsiteX12" fmla="*/ 37804 w 151217"/>
                <a:gd name="connsiteY12" fmla="*/ 103962 h 278808"/>
                <a:gd name="connsiteX13" fmla="*/ 0 w 151217"/>
                <a:gd name="connsiteY13" fmla="*/ 103962 h 278808"/>
                <a:gd name="connsiteX14" fmla="*/ 9451 w 151217"/>
                <a:gd name="connsiteY14" fmla="*/ 66158 h 278808"/>
                <a:gd name="connsiteX15" fmla="*/ 47256 w 151217"/>
                <a:gd name="connsiteY15" fmla="*/ 66158 h 278808"/>
                <a:gd name="connsiteX16" fmla="*/ 61432 w 151217"/>
                <a:gd name="connsiteY16" fmla="*/ 0 h 278808"/>
                <a:gd name="connsiteX17" fmla="*/ 118139 w 151217"/>
                <a:gd name="connsiteY17" fmla="*/ 0 h 278808"/>
                <a:gd name="connsiteX18" fmla="*/ 108687 w 151217"/>
                <a:gd name="connsiteY18" fmla="*/ 61433 h 27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217" h="278808">
                  <a:moveTo>
                    <a:pt x="108687" y="61433"/>
                  </a:moveTo>
                  <a:lnTo>
                    <a:pt x="151218" y="61433"/>
                  </a:lnTo>
                  <a:lnTo>
                    <a:pt x="141767" y="99237"/>
                  </a:lnTo>
                  <a:lnTo>
                    <a:pt x="99236" y="99237"/>
                  </a:lnTo>
                  <a:lnTo>
                    <a:pt x="75609" y="207925"/>
                  </a:lnTo>
                  <a:cubicBezTo>
                    <a:pt x="75609" y="212650"/>
                    <a:pt x="75609" y="217376"/>
                    <a:pt x="75609" y="217376"/>
                  </a:cubicBezTo>
                  <a:cubicBezTo>
                    <a:pt x="75609" y="231553"/>
                    <a:pt x="85060" y="231553"/>
                    <a:pt x="94511" y="231553"/>
                  </a:cubicBezTo>
                  <a:cubicBezTo>
                    <a:pt x="99236" y="231553"/>
                    <a:pt x="108687" y="231553"/>
                    <a:pt x="113413" y="231553"/>
                  </a:cubicBezTo>
                  <a:lnTo>
                    <a:pt x="103962" y="278808"/>
                  </a:lnTo>
                  <a:cubicBezTo>
                    <a:pt x="89785" y="278808"/>
                    <a:pt x="80334" y="278808"/>
                    <a:pt x="66158" y="278808"/>
                  </a:cubicBezTo>
                  <a:cubicBezTo>
                    <a:pt x="37804" y="278808"/>
                    <a:pt x="9451" y="269357"/>
                    <a:pt x="9451" y="236278"/>
                  </a:cubicBezTo>
                  <a:cubicBezTo>
                    <a:pt x="9451" y="231553"/>
                    <a:pt x="9451" y="222102"/>
                    <a:pt x="14176" y="217376"/>
                  </a:cubicBezTo>
                  <a:lnTo>
                    <a:pt x="37804" y="103962"/>
                  </a:lnTo>
                  <a:lnTo>
                    <a:pt x="0" y="103962"/>
                  </a:lnTo>
                  <a:lnTo>
                    <a:pt x="9451" y="66158"/>
                  </a:lnTo>
                  <a:lnTo>
                    <a:pt x="47256" y="66158"/>
                  </a:lnTo>
                  <a:lnTo>
                    <a:pt x="61432" y="0"/>
                  </a:lnTo>
                  <a:lnTo>
                    <a:pt x="118139" y="0"/>
                  </a:lnTo>
                  <a:lnTo>
                    <a:pt x="108687" y="61433"/>
                  </a:lnTo>
                  <a:close/>
                </a:path>
              </a:pathLst>
            </a:custGeom>
            <a:solidFill>
              <a:srgbClr val="000000"/>
            </a:solidFill>
            <a:ln w="47234" cap="flat">
              <a:noFill/>
              <a:prstDash val="solid"/>
              <a:miter/>
            </a:ln>
          </p:spPr>
          <p:txBody>
            <a:bodyPr rtlCol="0" anchor="ctr"/>
            <a:lstStyle/>
            <a:p>
              <a:endParaRPr lang="de-AT"/>
            </a:p>
          </p:txBody>
        </p:sp>
        <p:sp>
          <p:nvSpPr>
            <p:cNvPr id="54" name="Freihandform: Form 53">
              <a:extLst>
                <a:ext uri="{FF2B5EF4-FFF2-40B4-BE49-F238E27FC236}">
                  <a16:creationId xmlns:a16="http://schemas.microsoft.com/office/drawing/2014/main" id="{CAFC43E7-68EC-4EDA-A6EC-FC0DC4C96AFA}"/>
                </a:ext>
              </a:extLst>
            </p:cNvPr>
            <p:cNvSpPr/>
            <p:nvPr/>
          </p:nvSpPr>
          <p:spPr bwMode="gray">
            <a:xfrm>
              <a:off x="9808310" y="5720546"/>
              <a:ext cx="207924" cy="226827"/>
            </a:xfrm>
            <a:custGeom>
              <a:avLst/>
              <a:gdLst>
                <a:gd name="connsiteX0" fmla="*/ 151218 w 207924"/>
                <a:gd name="connsiteY0" fmla="*/ 70883 h 226827"/>
                <a:gd name="connsiteX1" fmla="*/ 118139 w 207924"/>
                <a:gd name="connsiteY1" fmla="*/ 42530 h 226827"/>
                <a:gd name="connsiteX2" fmla="*/ 80334 w 207924"/>
                <a:gd name="connsiteY2" fmla="*/ 61432 h 226827"/>
                <a:gd name="connsiteX3" fmla="*/ 108688 w 207924"/>
                <a:gd name="connsiteY3" fmla="*/ 85060 h 226827"/>
                <a:gd name="connsiteX4" fmla="*/ 137041 w 207924"/>
                <a:gd name="connsiteY4" fmla="*/ 94511 h 226827"/>
                <a:gd name="connsiteX5" fmla="*/ 193748 w 207924"/>
                <a:gd name="connsiteY5" fmla="*/ 155944 h 226827"/>
                <a:gd name="connsiteX6" fmla="*/ 89785 w 207924"/>
                <a:gd name="connsiteY6" fmla="*/ 226827 h 226827"/>
                <a:gd name="connsiteX7" fmla="*/ 0 w 207924"/>
                <a:gd name="connsiteY7" fmla="*/ 160669 h 226827"/>
                <a:gd name="connsiteX8" fmla="*/ 0 w 207924"/>
                <a:gd name="connsiteY8" fmla="*/ 151218 h 226827"/>
                <a:gd name="connsiteX9" fmla="*/ 56707 w 207924"/>
                <a:gd name="connsiteY9" fmla="*/ 151218 h 226827"/>
                <a:gd name="connsiteX10" fmla="*/ 56707 w 207924"/>
                <a:gd name="connsiteY10" fmla="*/ 155944 h 226827"/>
                <a:gd name="connsiteX11" fmla="*/ 99236 w 207924"/>
                <a:gd name="connsiteY11" fmla="*/ 184297 h 226827"/>
                <a:gd name="connsiteX12" fmla="*/ 137041 w 207924"/>
                <a:gd name="connsiteY12" fmla="*/ 160669 h 226827"/>
                <a:gd name="connsiteX13" fmla="*/ 118139 w 207924"/>
                <a:gd name="connsiteY13" fmla="*/ 137041 h 226827"/>
                <a:gd name="connsiteX14" fmla="*/ 70884 w 207924"/>
                <a:gd name="connsiteY14" fmla="*/ 122865 h 226827"/>
                <a:gd name="connsiteX15" fmla="*/ 23628 w 207924"/>
                <a:gd name="connsiteY15" fmla="*/ 66158 h 226827"/>
                <a:gd name="connsiteX16" fmla="*/ 118139 w 207924"/>
                <a:gd name="connsiteY16" fmla="*/ 0 h 226827"/>
                <a:gd name="connsiteX17" fmla="*/ 207925 w 207924"/>
                <a:gd name="connsiteY17" fmla="*/ 66158 h 226827"/>
                <a:gd name="connsiteX18" fmla="*/ 151218 w 207924"/>
                <a:gd name="connsiteY18" fmla="*/ 66158 h 22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7924" h="226827">
                  <a:moveTo>
                    <a:pt x="151218" y="70883"/>
                  </a:moveTo>
                  <a:cubicBezTo>
                    <a:pt x="151218" y="51981"/>
                    <a:pt x="141767" y="42530"/>
                    <a:pt x="118139" y="42530"/>
                  </a:cubicBezTo>
                  <a:cubicBezTo>
                    <a:pt x="99236" y="42530"/>
                    <a:pt x="80334" y="47256"/>
                    <a:pt x="80334" y="61432"/>
                  </a:cubicBezTo>
                  <a:cubicBezTo>
                    <a:pt x="80334" y="70883"/>
                    <a:pt x="85060" y="75609"/>
                    <a:pt x="108688" y="85060"/>
                  </a:cubicBezTo>
                  <a:lnTo>
                    <a:pt x="137041" y="94511"/>
                  </a:lnTo>
                  <a:cubicBezTo>
                    <a:pt x="170120" y="103962"/>
                    <a:pt x="193748" y="118139"/>
                    <a:pt x="193748" y="155944"/>
                  </a:cubicBezTo>
                  <a:cubicBezTo>
                    <a:pt x="193748" y="207925"/>
                    <a:pt x="141767" y="226827"/>
                    <a:pt x="89785" y="226827"/>
                  </a:cubicBezTo>
                  <a:cubicBezTo>
                    <a:pt x="47256" y="226827"/>
                    <a:pt x="0" y="207925"/>
                    <a:pt x="0" y="160669"/>
                  </a:cubicBezTo>
                  <a:lnTo>
                    <a:pt x="0" y="151218"/>
                  </a:lnTo>
                  <a:lnTo>
                    <a:pt x="56707" y="151218"/>
                  </a:lnTo>
                  <a:lnTo>
                    <a:pt x="56707" y="155944"/>
                  </a:lnTo>
                  <a:cubicBezTo>
                    <a:pt x="56707" y="174846"/>
                    <a:pt x="80334" y="184297"/>
                    <a:pt x="99236" y="184297"/>
                  </a:cubicBezTo>
                  <a:cubicBezTo>
                    <a:pt x="118139" y="184297"/>
                    <a:pt x="137041" y="179571"/>
                    <a:pt x="137041" y="160669"/>
                  </a:cubicBezTo>
                  <a:cubicBezTo>
                    <a:pt x="137041" y="146492"/>
                    <a:pt x="127590" y="141767"/>
                    <a:pt x="118139" y="137041"/>
                  </a:cubicBezTo>
                  <a:lnTo>
                    <a:pt x="70884" y="122865"/>
                  </a:lnTo>
                  <a:cubicBezTo>
                    <a:pt x="42530" y="113413"/>
                    <a:pt x="23628" y="103962"/>
                    <a:pt x="23628" y="66158"/>
                  </a:cubicBezTo>
                  <a:cubicBezTo>
                    <a:pt x="23628" y="14177"/>
                    <a:pt x="75609" y="0"/>
                    <a:pt x="118139" y="0"/>
                  </a:cubicBezTo>
                  <a:cubicBezTo>
                    <a:pt x="165395" y="0"/>
                    <a:pt x="207925" y="14177"/>
                    <a:pt x="207925" y="66158"/>
                  </a:cubicBezTo>
                  <a:lnTo>
                    <a:pt x="151218" y="66158"/>
                  </a:lnTo>
                  <a:close/>
                </a:path>
              </a:pathLst>
            </a:custGeom>
            <a:solidFill>
              <a:srgbClr val="000000"/>
            </a:solidFill>
            <a:ln w="47234" cap="flat">
              <a:noFill/>
              <a:prstDash val="solid"/>
              <a:miter/>
            </a:ln>
          </p:spPr>
          <p:txBody>
            <a:bodyPr rtlCol="0" anchor="ctr"/>
            <a:lstStyle/>
            <a:p>
              <a:endParaRPr lang="de-AT"/>
            </a:p>
          </p:txBody>
        </p:sp>
      </p:grpSp>
      <p:sp>
        <p:nvSpPr>
          <p:cNvPr id="55" name="Freihandform: Form 54">
            <a:extLst>
              <a:ext uri="{FF2B5EF4-FFF2-40B4-BE49-F238E27FC236}">
                <a16:creationId xmlns:a16="http://schemas.microsoft.com/office/drawing/2014/main" id="{CEE609CB-F6A6-444F-BFE1-42C27A11B3D6}"/>
              </a:ext>
            </a:extLst>
          </p:cNvPr>
          <p:cNvSpPr/>
          <p:nvPr userDrawn="1"/>
        </p:nvSpPr>
        <p:spPr bwMode="gray">
          <a:xfrm>
            <a:off x="4898178" y="1052736"/>
            <a:ext cx="546306" cy="484846"/>
          </a:xfrm>
          <a:custGeom>
            <a:avLst/>
            <a:gdLst>
              <a:gd name="connsiteX0" fmla="*/ 756091 w 756091"/>
              <a:gd name="connsiteY0" fmla="*/ 283534 h 671030"/>
              <a:gd name="connsiteX1" fmla="*/ 704110 w 756091"/>
              <a:gd name="connsiteY1" fmla="*/ 212650 h 671030"/>
              <a:gd name="connsiteX2" fmla="*/ 278809 w 756091"/>
              <a:gd name="connsiteY2" fmla="*/ 0 h 671030"/>
              <a:gd name="connsiteX3" fmla="*/ 217376 w 756091"/>
              <a:gd name="connsiteY3" fmla="*/ 146492 h 671030"/>
              <a:gd name="connsiteX4" fmla="*/ 529264 w 756091"/>
              <a:gd name="connsiteY4" fmla="*/ 292985 h 671030"/>
              <a:gd name="connsiteX5" fmla="*/ 75609 w 756091"/>
              <a:gd name="connsiteY5" fmla="*/ 486733 h 671030"/>
              <a:gd name="connsiteX6" fmla="*/ 0 w 756091"/>
              <a:gd name="connsiteY6" fmla="*/ 671030 h 671030"/>
              <a:gd name="connsiteX7" fmla="*/ 675756 w 756091"/>
              <a:gd name="connsiteY7" fmla="*/ 378045 h 671030"/>
              <a:gd name="connsiteX8" fmla="*/ 756091 w 756091"/>
              <a:gd name="connsiteY8" fmla="*/ 283534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91" h="671030">
                <a:moveTo>
                  <a:pt x="756091" y="283534"/>
                </a:moveTo>
                <a:cubicBezTo>
                  <a:pt x="756091" y="269357"/>
                  <a:pt x="751365" y="236278"/>
                  <a:pt x="704110" y="212650"/>
                </a:cubicBezTo>
                <a:lnTo>
                  <a:pt x="278809" y="0"/>
                </a:lnTo>
                <a:lnTo>
                  <a:pt x="217376" y="146492"/>
                </a:lnTo>
                <a:lnTo>
                  <a:pt x="529264" y="292985"/>
                </a:lnTo>
                <a:lnTo>
                  <a:pt x="75609" y="486733"/>
                </a:lnTo>
                <a:lnTo>
                  <a:pt x="0" y="671030"/>
                </a:lnTo>
                <a:lnTo>
                  <a:pt x="675756" y="378045"/>
                </a:lnTo>
                <a:cubicBezTo>
                  <a:pt x="727737" y="349692"/>
                  <a:pt x="756091" y="316613"/>
                  <a:pt x="756091" y="283534"/>
                </a:cubicBezTo>
              </a:path>
            </a:pathLst>
          </a:custGeom>
          <a:solidFill>
            <a:srgbClr val="FFCC03"/>
          </a:solidFill>
          <a:ln w="47234" cap="flat">
            <a:noFill/>
            <a:prstDash val="solid"/>
            <a:miter/>
          </a:ln>
        </p:spPr>
        <p:txBody>
          <a:bodyPr rtlCol="0" anchor="ctr"/>
          <a:lstStyle/>
          <a:p>
            <a:endParaRPr lang="de-AT"/>
          </a:p>
        </p:txBody>
      </p:sp>
      <p:sp>
        <p:nvSpPr>
          <p:cNvPr id="56" name="Freihandform: Form 55">
            <a:extLst>
              <a:ext uri="{FF2B5EF4-FFF2-40B4-BE49-F238E27FC236}">
                <a16:creationId xmlns:a16="http://schemas.microsoft.com/office/drawing/2014/main" id="{8B0BA8E8-6DA5-4020-8641-AB423C4A3E84}"/>
              </a:ext>
            </a:extLst>
          </p:cNvPr>
          <p:cNvSpPr/>
          <p:nvPr userDrawn="1">
            <p:custDataLst>
              <p:tags r:id="rId3"/>
            </p:custDataLst>
          </p:nvPr>
        </p:nvSpPr>
        <p:spPr bwMode="gray">
          <a:xfrm>
            <a:off x="5352294" y="1052736"/>
            <a:ext cx="546305" cy="484846"/>
          </a:xfrm>
          <a:custGeom>
            <a:avLst/>
            <a:gdLst>
              <a:gd name="connsiteX0" fmla="*/ 756091 w 756090"/>
              <a:gd name="connsiteY0" fmla="*/ 283534 h 671030"/>
              <a:gd name="connsiteX1" fmla="*/ 704110 w 756090"/>
              <a:gd name="connsiteY1" fmla="*/ 212650 h 671030"/>
              <a:gd name="connsiteX2" fmla="*/ 278809 w 756090"/>
              <a:gd name="connsiteY2" fmla="*/ 0 h 671030"/>
              <a:gd name="connsiteX3" fmla="*/ 217376 w 756090"/>
              <a:gd name="connsiteY3" fmla="*/ 146492 h 671030"/>
              <a:gd name="connsiteX4" fmla="*/ 529264 w 756090"/>
              <a:gd name="connsiteY4" fmla="*/ 292985 h 671030"/>
              <a:gd name="connsiteX5" fmla="*/ 75609 w 756090"/>
              <a:gd name="connsiteY5" fmla="*/ 486733 h 671030"/>
              <a:gd name="connsiteX6" fmla="*/ 0 w 756090"/>
              <a:gd name="connsiteY6" fmla="*/ 671030 h 671030"/>
              <a:gd name="connsiteX7" fmla="*/ 675756 w 756090"/>
              <a:gd name="connsiteY7" fmla="*/ 378045 h 671030"/>
              <a:gd name="connsiteX8" fmla="*/ 756091 w 756090"/>
              <a:gd name="connsiteY8" fmla="*/ 283534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90" h="671030">
                <a:moveTo>
                  <a:pt x="756091" y="283534"/>
                </a:moveTo>
                <a:cubicBezTo>
                  <a:pt x="756091" y="269357"/>
                  <a:pt x="751366" y="236278"/>
                  <a:pt x="704110" y="212650"/>
                </a:cubicBezTo>
                <a:lnTo>
                  <a:pt x="278809" y="0"/>
                </a:lnTo>
                <a:lnTo>
                  <a:pt x="217376" y="146492"/>
                </a:lnTo>
                <a:lnTo>
                  <a:pt x="529264" y="292985"/>
                </a:lnTo>
                <a:lnTo>
                  <a:pt x="75609" y="486733"/>
                </a:lnTo>
                <a:lnTo>
                  <a:pt x="0" y="671030"/>
                </a:lnTo>
                <a:lnTo>
                  <a:pt x="675756" y="378045"/>
                </a:lnTo>
                <a:cubicBezTo>
                  <a:pt x="723012" y="349692"/>
                  <a:pt x="756091" y="316613"/>
                  <a:pt x="756091" y="283534"/>
                </a:cubicBezTo>
              </a:path>
            </a:pathLst>
          </a:custGeom>
          <a:solidFill>
            <a:srgbClr val="FFCC03"/>
          </a:solidFill>
          <a:ln w="47234" cap="flat">
            <a:noFill/>
            <a:prstDash val="solid"/>
            <a:miter/>
          </a:ln>
        </p:spPr>
        <p:txBody>
          <a:bodyPr rtlCol="0" anchor="ctr"/>
          <a:lstStyle/>
          <a:p>
            <a:endParaRPr lang="de-AT"/>
          </a:p>
        </p:txBody>
      </p:sp>
      <p:sp>
        <p:nvSpPr>
          <p:cNvPr id="57" name="Freihandform: Form 56">
            <a:extLst>
              <a:ext uri="{FF2B5EF4-FFF2-40B4-BE49-F238E27FC236}">
                <a16:creationId xmlns:a16="http://schemas.microsoft.com/office/drawing/2014/main" id="{D5F5F67F-397D-491C-A089-E810496E8D8E}"/>
              </a:ext>
            </a:extLst>
          </p:cNvPr>
          <p:cNvSpPr/>
          <p:nvPr userDrawn="1">
            <p:custDataLst>
              <p:tags r:id="rId4"/>
            </p:custDataLst>
          </p:nvPr>
        </p:nvSpPr>
        <p:spPr bwMode="gray">
          <a:xfrm>
            <a:off x="5806411" y="1052736"/>
            <a:ext cx="549720" cy="484846"/>
          </a:xfrm>
          <a:custGeom>
            <a:avLst/>
            <a:gdLst>
              <a:gd name="connsiteX0" fmla="*/ 704110 w 760816"/>
              <a:gd name="connsiteY0" fmla="*/ 212650 h 671030"/>
              <a:gd name="connsiteX1" fmla="*/ 278809 w 760816"/>
              <a:gd name="connsiteY1" fmla="*/ 0 h 671030"/>
              <a:gd name="connsiteX2" fmla="*/ 217376 w 760816"/>
              <a:gd name="connsiteY2" fmla="*/ 146492 h 671030"/>
              <a:gd name="connsiteX3" fmla="*/ 529263 w 760816"/>
              <a:gd name="connsiteY3" fmla="*/ 292985 h 671030"/>
              <a:gd name="connsiteX4" fmla="*/ 75609 w 760816"/>
              <a:gd name="connsiteY4" fmla="*/ 486733 h 671030"/>
              <a:gd name="connsiteX5" fmla="*/ 0 w 760816"/>
              <a:gd name="connsiteY5" fmla="*/ 671030 h 671030"/>
              <a:gd name="connsiteX6" fmla="*/ 675756 w 760816"/>
              <a:gd name="connsiteY6" fmla="*/ 378045 h 671030"/>
              <a:gd name="connsiteX7" fmla="*/ 760817 w 760816"/>
              <a:gd name="connsiteY7" fmla="*/ 288259 h 671030"/>
              <a:gd name="connsiteX8" fmla="*/ 704110 w 760816"/>
              <a:gd name="connsiteY8" fmla="*/ 212650 h 67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0816" h="671030">
                <a:moveTo>
                  <a:pt x="704110" y="212650"/>
                </a:moveTo>
                <a:lnTo>
                  <a:pt x="278809" y="0"/>
                </a:lnTo>
                <a:lnTo>
                  <a:pt x="217376" y="146492"/>
                </a:lnTo>
                <a:lnTo>
                  <a:pt x="529263" y="292985"/>
                </a:lnTo>
                <a:lnTo>
                  <a:pt x="75609" y="486733"/>
                </a:lnTo>
                <a:lnTo>
                  <a:pt x="0" y="671030"/>
                </a:lnTo>
                <a:lnTo>
                  <a:pt x="675756" y="378045"/>
                </a:lnTo>
                <a:cubicBezTo>
                  <a:pt x="727738" y="354417"/>
                  <a:pt x="760817" y="321338"/>
                  <a:pt x="760817" y="288259"/>
                </a:cubicBezTo>
                <a:cubicBezTo>
                  <a:pt x="756091" y="269357"/>
                  <a:pt x="751366" y="236278"/>
                  <a:pt x="704110" y="212650"/>
                </a:cubicBezTo>
              </a:path>
            </a:pathLst>
          </a:custGeom>
          <a:solidFill>
            <a:srgbClr val="000000"/>
          </a:solidFill>
          <a:ln w="47234" cap="flat">
            <a:noFill/>
            <a:prstDash val="solid"/>
            <a:miter/>
          </a:ln>
        </p:spPr>
        <p:txBody>
          <a:bodyPr rtlCol="0" anchor="ctr"/>
          <a:lstStyle/>
          <a:p>
            <a:endParaRPr lang="de-AT"/>
          </a:p>
        </p:txBody>
      </p:sp>
      <p:grpSp>
        <p:nvGrpSpPr>
          <p:cNvPr id="10" name="Gruppieren 9">
            <a:extLst>
              <a:ext uri="{FF2B5EF4-FFF2-40B4-BE49-F238E27FC236}">
                <a16:creationId xmlns:a16="http://schemas.microsoft.com/office/drawing/2014/main" id="{FBA0D9E3-6AD7-4BDB-85B8-9F17ADBAC6BA}"/>
              </a:ext>
            </a:extLst>
          </p:cNvPr>
          <p:cNvGrpSpPr/>
          <p:nvPr userDrawn="1"/>
        </p:nvGrpSpPr>
        <p:grpSpPr>
          <a:xfrm>
            <a:off x="-10647257" y="2544589"/>
            <a:ext cx="23371200" cy="3593195"/>
            <a:chOff x="-10647257" y="2544589"/>
            <a:chExt cx="23371200" cy="3593195"/>
          </a:xfrm>
        </p:grpSpPr>
        <p:sp>
          <p:nvSpPr>
            <p:cNvPr id="96" name="Y_big_1">
              <a:extLst>
                <a:ext uri="{FF2B5EF4-FFF2-40B4-BE49-F238E27FC236}">
                  <a16:creationId xmlns:a16="http://schemas.microsoft.com/office/drawing/2014/main" id="{2C68E6A7-14D6-48CE-90E4-3C685FA1DC5A}"/>
                </a:ext>
              </a:extLst>
            </p:cNvPr>
            <p:cNvSpPr/>
            <p:nvPr userDrawn="1">
              <p:custDataLst>
                <p:tags r:id="rId11"/>
              </p:custDataLst>
            </p:nvPr>
          </p:nvSpPr>
          <p:spPr>
            <a:xfrm rot="10800000">
              <a:off x="1038343" y="2544589"/>
              <a:ext cx="11685600" cy="2678400"/>
            </a:xfrm>
            <a:custGeom>
              <a:avLst/>
              <a:gdLst>
                <a:gd name="connsiteX0" fmla="*/ 0 w 11674937"/>
                <a:gd name="connsiteY0" fmla="*/ 0 h 2680525"/>
                <a:gd name="connsiteX1" fmla="*/ 0 w 11674937"/>
                <a:gd name="connsiteY1" fmla="*/ 2680526 h 2680525"/>
                <a:gd name="connsiteX2" fmla="*/ 11674938 w 11674937"/>
                <a:gd name="connsiteY2" fmla="*/ 880046 h 2680525"/>
              </a:gdLst>
              <a:ahLst/>
              <a:cxnLst>
                <a:cxn ang="0">
                  <a:pos x="connsiteX0" y="connsiteY0"/>
                </a:cxn>
                <a:cxn ang="0">
                  <a:pos x="connsiteX1" y="connsiteY1"/>
                </a:cxn>
                <a:cxn ang="0">
                  <a:pos x="connsiteX2" y="connsiteY2"/>
                </a:cxn>
              </a:cxnLst>
              <a:rect l="l" t="t" r="r" b="b"/>
              <a:pathLst>
                <a:path w="11674937" h="2680525">
                  <a:moveTo>
                    <a:pt x="0" y="0"/>
                  </a:moveTo>
                  <a:lnTo>
                    <a:pt x="0" y="2680526"/>
                  </a:lnTo>
                  <a:lnTo>
                    <a:pt x="11674938" y="880046"/>
                  </a:lnTo>
                  <a:close/>
                </a:path>
              </a:pathLst>
            </a:custGeom>
            <a:gradFill flip="none" rotWithShape="1">
              <a:gsLst>
                <a:gs pos="45000">
                  <a:srgbClr val="FFDD00"/>
                </a:gs>
                <a:gs pos="92000">
                  <a:srgbClr val="FFDD00">
                    <a:alpha val="29804"/>
                  </a:srgbClr>
                </a:gs>
              </a:gsLst>
              <a:lin ang="0" scaled="0"/>
              <a:tileRect/>
            </a:gradFill>
            <a:ln w="21499" cap="flat">
              <a:noFill/>
              <a:prstDash val="solid"/>
              <a:miter/>
            </a:ln>
          </p:spPr>
          <p:txBody>
            <a:bodyPr rtlCol="0" anchor="ctr"/>
            <a:lstStyle/>
            <a:p>
              <a:endParaRPr lang="de-DE"/>
            </a:p>
          </p:txBody>
        </p:sp>
        <p:sp>
          <p:nvSpPr>
            <p:cNvPr id="89" name="Y_big_1">
              <a:extLst>
                <a:ext uri="{FF2B5EF4-FFF2-40B4-BE49-F238E27FC236}">
                  <a16:creationId xmlns:a16="http://schemas.microsoft.com/office/drawing/2014/main" id="{DBA43331-7881-41E8-9615-C74A09A530E2}"/>
                </a:ext>
              </a:extLst>
            </p:cNvPr>
            <p:cNvSpPr/>
            <p:nvPr userDrawn="1">
              <p:custDataLst>
                <p:tags r:id="rId12"/>
              </p:custDataLst>
            </p:nvPr>
          </p:nvSpPr>
          <p:spPr>
            <a:xfrm>
              <a:off x="-10647257" y="3459384"/>
              <a:ext cx="11685600" cy="2678400"/>
            </a:xfrm>
            <a:custGeom>
              <a:avLst/>
              <a:gdLst>
                <a:gd name="connsiteX0" fmla="*/ 0 w 11674937"/>
                <a:gd name="connsiteY0" fmla="*/ 0 h 2680525"/>
                <a:gd name="connsiteX1" fmla="*/ 0 w 11674937"/>
                <a:gd name="connsiteY1" fmla="*/ 2680526 h 2680525"/>
                <a:gd name="connsiteX2" fmla="*/ 11674938 w 11674937"/>
                <a:gd name="connsiteY2" fmla="*/ 880046 h 2680525"/>
              </a:gdLst>
              <a:ahLst/>
              <a:cxnLst>
                <a:cxn ang="0">
                  <a:pos x="connsiteX0" y="connsiteY0"/>
                </a:cxn>
                <a:cxn ang="0">
                  <a:pos x="connsiteX1" y="connsiteY1"/>
                </a:cxn>
                <a:cxn ang="0">
                  <a:pos x="connsiteX2" y="connsiteY2"/>
                </a:cxn>
              </a:cxnLst>
              <a:rect l="l" t="t" r="r" b="b"/>
              <a:pathLst>
                <a:path w="11674937" h="2680525">
                  <a:moveTo>
                    <a:pt x="0" y="0"/>
                  </a:moveTo>
                  <a:lnTo>
                    <a:pt x="0" y="2680526"/>
                  </a:lnTo>
                  <a:lnTo>
                    <a:pt x="11674938" y="880046"/>
                  </a:lnTo>
                  <a:close/>
                </a:path>
              </a:pathLst>
            </a:custGeom>
            <a:noFill/>
            <a:ln w="21499" cap="flat">
              <a:noFill/>
              <a:prstDash val="solid"/>
              <a:miter/>
            </a:ln>
          </p:spPr>
          <p:txBody>
            <a:bodyPr rtlCol="0" anchor="ctr"/>
            <a:lstStyle/>
            <a:p>
              <a:endParaRPr lang="de-DE"/>
            </a:p>
          </p:txBody>
        </p:sp>
      </p:grpSp>
      <p:grpSp>
        <p:nvGrpSpPr>
          <p:cNvPr id="9" name="Gruppieren 8">
            <a:extLst>
              <a:ext uri="{FF2B5EF4-FFF2-40B4-BE49-F238E27FC236}">
                <a16:creationId xmlns:a16="http://schemas.microsoft.com/office/drawing/2014/main" id="{308A805B-7D3A-4DD0-A82C-29962C387178}"/>
              </a:ext>
            </a:extLst>
          </p:cNvPr>
          <p:cNvGrpSpPr/>
          <p:nvPr userDrawn="1"/>
        </p:nvGrpSpPr>
        <p:grpSpPr>
          <a:xfrm>
            <a:off x="-9493" y="3172110"/>
            <a:ext cx="18720296" cy="3594837"/>
            <a:chOff x="-9493" y="3172110"/>
            <a:chExt cx="18720296" cy="3594837"/>
          </a:xfrm>
        </p:grpSpPr>
        <p:sp>
          <p:nvSpPr>
            <p:cNvPr id="95" name="B_small">
              <a:extLst>
                <a:ext uri="{FF2B5EF4-FFF2-40B4-BE49-F238E27FC236}">
                  <a16:creationId xmlns:a16="http://schemas.microsoft.com/office/drawing/2014/main" id="{1A459E07-8FE4-4F03-A849-224E83752126}"/>
                </a:ext>
              </a:extLst>
            </p:cNvPr>
            <p:cNvSpPr/>
            <p:nvPr userDrawn="1">
              <p:custDataLst>
                <p:tags r:id="rId9"/>
              </p:custDataLst>
            </p:nvPr>
          </p:nvSpPr>
          <p:spPr>
            <a:xfrm rot="10800000">
              <a:off x="-9493" y="3172110"/>
              <a:ext cx="9360000" cy="1791800"/>
            </a:xfrm>
            <a:custGeom>
              <a:avLst/>
              <a:gdLst>
                <a:gd name="connsiteX0" fmla="*/ 9368313 w 9368313"/>
                <a:gd name="connsiteY0" fmla="*/ 709538 h 1793889"/>
                <a:gd name="connsiteX1" fmla="*/ 0 w 9368313"/>
                <a:gd name="connsiteY1" fmla="*/ 0 h 1793889"/>
                <a:gd name="connsiteX2" fmla="*/ 9368313 w 9368313"/>
                <a:gd name="connsiteY2" fmla="*/ 1793889 h 1793889"/>
              </a:gdLst>
              <a:ahLst/>
              <a:cxnLst>
                <a:cxn ang="0">
                  <a:pos x="connsiteX0" y="connsiteY0"/>
                </a:cxn>
                <a:cxn ang="0">
                  <a:pos x="connsiteX1" y="connsiteY1"/>
                </a:cxn>
                <a:cxn ang="0">
                  <a:pos x="connsiteX2" y="connsiteY2"/>
                </a:cxn>
              </a:cxnLst>
              <a:rect l="l" t="t" r="r" b="b"/>
              <a:pathLst>
                <a:path w="9368313" h="1793889">
                  <a:moveTo>
                    <a:pt x="9368313" y="709538"/>
                  </a:moveTo>
                  <a:lnTo>
                    <a:pt x="0" y="0"/>
                  </a:lnTo>
                  <a:lnTo>
                    <a:pt x="9368313" y="1793889"/>
                  </a:lnTo>
                  <a:close/>
                </a:path>
              </a:pathLst>
            </a:custGeom>
            <a:gradFill flip="none" rotWithShape="1">
              <a:gsLst>
                <a:gs pos="60000">
                  <a:srgbClr val="404649">
                    <a:alpha val="57647"/>
                  </a:srgbClr>
                </a:gs>
                <a:gs pos="8000">
                  <a:srgbClr val="404649">
                    <a:alpha val="0"/>
                  </a:srgbClr>
                </a:gs>
              </a:gsLst>
              <a:lin ang="0" scaled="0"/>
              <a:tileRect/>
            </a:gradFill>
            <a:ln w="21499" cap="flat">
              <a:noFill/>
              <a:prstDash val="solid"/>
              <a:miter/>
            </a:ln>
          </p:spPr>
          <p:txBody>
            <a:bodyPr rtlCol="0" anchor="ctr"/>
            <a:lstStyle/>
            <a:p>
              <a:endParaRPr lang="de-DE"/>
            </a:p>
          </p:txBody>
        </p:sp>
        <p:sp>
          <p:nvSpPr>
            <p:cNvPr id="90" name="B_small">
              <a:extLst>
                <a:ext uri="{FF2B5EF4-FFF2-40B4-BE49-F238E27FC236}">
                  <a16:creationId xmlns:a16="http://schemas.microsoft.com/office/drawing/2014/main" id="{19274F4E-1885-4167-BE0C-BF7EF2CDBF28}"/>
                </a:ext>
              </a:extLst>
            </p:cNvPr>
            <p:cNvSpPr/>
            <p:nvPr userDrawn="1">
              <p:custDataLst>
                <p:tags r:id="rId10"/>
              </p:custDataLst>
            </p:nvPr>
          </p:nvSpPr>
          <p:spPr>
            <a:xfrm>
              <a:off x="9350803" y="4975147"/>
              <a:ext cx="9360000" cy="1791800"/>
            </a:xfrm>
            <a:custGeom>
              <a:avLst/>
              <a:gdLst>
                <a:gd name="connsiteX0" fmla="*/ 9368313 w 9368313"/>
                <a:gd name="connsiteY0" fmla="*/ 709538 h 1793889"/>
                <a:gd name="connsiteX1" fmla="*/ 0 w 9368313"/>
                <a:gd name="connsiteY1" fmla="*/ 0 h 1793889"/>
                <a:gd name="connsiteX2" fmla="*/ 9368313 w 9368313"/>
                <a:gd name="connsiteY2" fmla="*/ 1793889 h 1793889"/>
              </a:gdLst>
              <a:ahLst/>
              <a:cxnLst>
                <a:cxn ang="0">
                  <a:pos x="connsiteX0" y="connsiteY0"/>
                </a:cxn>
                <a:cxn ang="0">
                  <a:pos x="connsiteX1" y="connsiteY1"/>
                </a:cxn>
                <a:cxn ang="0">
                  <a:pos x="connsiteX2" y="connsiteY2"/>
                </a:cxn>
              </a:cxnLst>
              <a:rect l="l" t="t" r="r" b="b"/>
              <a:pathLst>
                <a:path w="9368313" h="1793889">
                  <a:moveTo>
                    <a:pt x="9368313" y="709538"/>
                  </a:moveTo>
                  <a:lnTo>
                    <a:pt x="0" y="0"/>
                  </a:lnTo>
                  <a:lnTo>
                    <a:pt x="9368313" y="1793889"/>
                  </a:lnTo>
                  <a:close/>
                </a:path>
              </a:pathLst>
            </a:custGeom>
            <a:noFill/>
            <a:ln w="21499" cap="flat">
              <a:noFill/>
              <a:prstDash val="solid"/>
              <a:miter/>
            </a:ln>
          </p:spPr>
          <p:txBody>
            <a:bodyPr rtlCol="0" anchor="ctr"/>
            <a:lstStyle/>
            <a:p>
              <a:endParaRPr lang="de-DE"/>
            </a:p>
          </p:txBody>
        </p:sp>
      </p:grpSp>
      <p:grpSp>
        <p:nvGrpSpPr>
          <p:cNvPr id="8" name="Gruppieren 7">
            <a:extLst>
              <a:ext uri="{FF2B5EF4-FFF2-40B4-BE49-F238E27FC236}">
                <a16:creationId xmlns:a16="http://schemas.microsoft.com/office/drawing/2014/main" id="{6CCAB2F6-CA7F-484E-B187-3DD692AB18E0}"/>
              </a:ext>
            </a:extLst>
          </p:cNvPr>
          <p:cNvGrpSpPr/>
          <p:nvPr userDrawn="1"/>
        </p:nvGrpSpPr>
        <p:grpSpPr>
          <a:xfrm>
            <a:off x="-265030" y="3530755"/>
            <a:ext cx="25587145" cy="3388591"/>
            <a:chOff x="-265030" y="3530755"/>
            <a:chExt cx="25587145" cy="3388591"/>
          </a:xfrm>
        </p:grpSpPr>
        <p:sp>
          <p:nvSpPr>
            <p:cNvPr id="94" name="B_big_1">
              <a:extLst>
                <a:ext uri="{FF2B5EF4-FFF2-40B4-BE49-F238E27FC236}">
                  <a16:creationId xmlns:a16="http://schemas.microsoft.com/office/drawing/2014/main" id="{3B8F5901-194C-4AE8-8DFD-6525F35D010F}"/>
                </a:ext>
              </a:extLst>
            </p:cNvPr>
            <p:cNvSpPr/>
            <p:nvPr userDrawn="1">
              <p:custDataLst>
                <p:tags r:id="rId7"/>
              </p:custDataLst>
            </p:nvPr>
          </p:nvSpPr>
          <p:spPr>
            <a:xfrm rot="10800000">
              <a:off x="-265030" y="4232046"/>
              <a:ext cx="12794400" cy="2687300"/>
            </a:xfrm>
            <a:custGeom>
              <a:avLst/>
              <a:gdLst>
                <a:gd name="connsiteX0" fmla="*/ 12799195 w 12799194"/>
                <a:gd name="connsiteY0" fmla="*/ 2668020 h 2668019"/>
                <a:gd name="connsiteX1" fmla="*/ 12799195 w 12799194"/>
                <a:gd name="connsiteY1" fmla="*/ 0 h 2668019"/>
                <a:gd name="connsiteX2" fmla="*/ 0 w 12799194"/>
                <a:gd name="connsiteY2" fmla="*/ 1362483 h 2668019"/>
                <a:gd name="connsiteX3" fmla="*/ 0 w 12799194"/>
                <a:gd name="connsiteY3" fmla="*/ 2026851 h 2668019"/>
              </a:gdLst>
              <a:ahLst/>
              <a:cxnLst>
                <a:cxn ang="0">
                  <a:pos x="connsiteX0" y="connsiteY0"/>
                </a:cxn>
                <a:cxn ang="0">
                  <a:pos x="connsiteX1" y="connsiteY1"/>
                </a:cxn>
                <a:cxn ang="0">
                  <a:pos x="connsiteX2" y="connsiteY2"/>
                </a:cxn>
                <a:cxn ang="0">
                  <a:pos x="connsiteX3" y="connsiteY3"/>
                </a:cxn>
              </a:cxnLst>
              <a:rect l="l" t="t" r="r" b="b"/>
              <a:pathLst>
                <a:path w="12799194" h="2668019">
                  <a:moveTo>
                    <a:pt x="12799195" y="2668020"/>
                  </a:moveTo>
                  <a:lnTo>
                    <a:pt x="12799195" y="0"/>
                  </a:lnTo>
                  <a:lnTo>
                    <a:pt x="0" y="1362483"/>
                  </a:lnTo>
                  <a:lnTo>
                    <a:pt x="0" y="2026851"/>
                  </a:lnTo>
                  <a:close/>
                </a:path>
              </a:pathLst>
            </a:custGeom>
            <a:gradFill flip="none" rotWithShape="1">
              <a:gsLst>
                <a:gs pos="0">
                  <a:srgbClr val="404649">
                    <a:alpha val="6667"/>
                  </a:srgbClr>
                </a:gs>
                <a:gs pos="46000">
                  <a:srgbClr val="404649">
                    <a:alpha val="75686"/>
                  </a:srgbClr>
                </a:gs>
              </a:gsLst>
              <a:lin ang="1200000" scaled="0"/>
              <a:tileRect/>
            </a:gradFill>
            <a:ln w="21499" cap="flat">
              <a:noFill/>
              <a:prstDash val="solid"/>
              <a:miter/>
            </a:ln>
          </p:spPr>
          <p:txBody>
            <a:bodyPr rtlCol="0" anchor="ctr"/>
            <a:lstStyle/>
            <a:p>
              <a:endParaRPr lang="de-DE"/>
            </a:p>
          </p:txBody>
        </p:sp>
        <p:sp>
          <p:nvSpPr>
            <p:cNvPr id="91" name="B_big_1">
              <a:extLst>
                <a:ext uri="{FF2B5EF4-FFF2-40B4-BE49-F238E27FC236}">
                  <a16:creationId xmlns:a16="http://schemas.microsoft.com/office/drawing/2014/main" id="{953C3ED9-20A6-4F96-9DF8-DA8C71F4DF53}"/>
                </a:ext>
              </a:extLst>
            </p:cNvPr>
            <p:cNvSpPr/>
            <p:nvPr userDrawn="1">
              <p:custDataLst>
                <p:tags r:id="rId8"/>
              </p:custDataLst>
            </p:nvPr>
          </p:nvSpPr>
          <p:spPr>
            <a:xfrm>
              <a:off x="12527715" y="3530755"/>
              <a:ext cx="12794400" cy="2687300"/>
            </a:xfrm>
            <a:custGeom>
              <a:avLst/>
              <a:gdLst>
                <a:gd name="connsiteX0" fmla="*/ 12799195 w 12799194"/>
                <a:gd name="connsiteY0" fmla="*/ 2668020 h 2668019"/>
                <a:gd name="connsiteX1" fmla="*/ 12799195 w 12799194"/>
                <a:gd name="connsiteY1" fmla="*/ 0 h 2668019"/>
                <a:gd name="connsiteX2" fmla="*/ 0 w 12799194"/>
                <a:gd name="connsiteY2" fmla="*/ 1362483 h 2668019"/>
                <a:gd name="connsiteX3" fmla="*/ 0 w 12799194"/>
                <a:gd name="connsiteY3" fmla="*/ 2026851 h 2668019"/>
              </a:gdLst>
              <a:ahLst/>
              <a:cxnLst>
                <a:cxn ang="0">
                  <a:pos x="connsiteX0" y="connsiteY0"/>
                </a:cxn>
                <a:cxn ang="0">
                  <a:pos x="connsiteX1" y="connsiteY1"/>
                </a:cxn>
                <a:cxn ang="0">
                  <a:pos x="connsiteX2" y="connsiteY2"/>
                </a:cxn>
                <a:cxn ang="0">
                  <a:pos x="connsiteX3" y="connsiteY3"/>
                </a:cxn>
              </a:cxnLst>
              <a:rect l="l" t="t" r="r" b="b"/>
              <a:pathLst>
                <a:path w="12799194" h="2668019">
                  <a:moveTo>
                    <a:pt x="12799195" y="2668020"/>
                  </a:moveTo>
                  <a:lnTo>
                    <a:pt x="12799195" y="0"/>
                  </a:lnTo>
                  <a:lnTo>
                    <a:pt x="0" y="1362483"/>
                  </a:lnTo>
                  <a:lnTo>
                    <a:pt x="0" y="2026851"/>
                  </a:lnTo>
                  <a:close/>
                </a:path>
              </a:pathLst>
            </a:custGeom>
            <a:noFill/>
            <a:ln w="21499" cap="flat">
              <a:noFill/>
              <a:prstDash val="solid"/>
              <a:miter/>
            </a:ln>
          </p:spPr>
          <p:txBody>
            <a:bodyPr rtlCol="0" anchor="ctr"/>
            <a:lstStyle/>
            <a:p>
              <a:endParaRPr lang="de-DE"/>
            </a:p>
          </p:txBody>
        </p:sp>
      </p:grpSp>
      <p:grpSp>
        <p:nvGrpSpPr>
          <p:cNvPr id="4" name="Gruppieren 3">
            <a:extLst>
              <a:ext uri="{FF2B5EF4-FFF2-40B4-BE49-F238E27FC236}">
                <a16:creationId xmlns:a16="http://schemas.microsoft.com/office/drawing/2014/main" id="{16D0F661-3335-4A8C-A02C-CC04DF3D6484}"/>
              </a:ext>
            </a:extLst>
          </p:cNvPr>
          <p:cNvGrpSpPr/>
          <p:nvPr userDrawn="1"/>
        </p:nvGrpSpPr>
        <p:grpSpPr>
          <a:xfrm>
            <a:off x="4601" y="1306860"/>
            <a:ext cx="12190607" cy="4504206"/>
            <a:chOff x="4601" y="1306860"/>
            <a:chExt cx="12190607" cy="4504206"/>
          </a:xfrm>
        </p:grpSpPr>
        <p:sp>
          <p:nvSpPr>
            <p:cNvPr id="93" name="Y_small">
              <a:extLst>
                <a:ext uri="{FF2B5EF4-FFF2-40B4-BE49-F238E27FC236}">
                  <a16:creationId xmlns:a16="http://schemas.microsoft.com/office/drawing/2014/main" id="{021DC611-FB3C-445D-AB0B-6F53EFFAE5AD}"/>
                </a:ext>
              </a:extLst>
            </p:cNvPr>
            <p:cNvSpPr/>
            <p:nvPr userDrawn="1">
              <p:custDataLst>
                <p:tags r:id="rId5"/>
              </p:custDataLst>
            </p:nvPr>
          </p:nvSpPr>
          <p:spPr>
            <a:xfrm rot="10800000">
              <a:off x="6109470" y="1306860"/>
              <a:ext cx="6085738" cy="2251620"/>
            </a:xfrm>
            <a:custGeom>
              <a:avLst/>
              <a:gdLst>
                <a:gd name="connsiteX0" fmla="*/ 6085739 w 6085738"/>
                <a:gd name="connsiteY0" fmla="*/ 0 h 2251620"/>
                <a:gd name="connsiteX1" fmla="*/ 0 w 6085738"/>
                <a:gd name="connsiteY1" fmla="*/ 359192 h 2251620"/>
                <a:gd name="connsiteX2" fmla="*/ 0 w 6085738"/>
                <a:gd name="connsiteY2" fmla="*/ 2251620 h 2251620"/>
              </a:gdLst>
              <a:ahLst/>
              <a:cxnLst>
                <a:cxn ang="0">
                  <a:pos x="connsiteX0" y="connsiteY0"/>
                </a:cxn>
                <a:cxn ang="0">
                  <a:pos x="connsiteX1" y="connsiteY1"/>
                </a:cxn>
                <a:cxn ang="0">
                  <a:pos x="connsiteX2" y="connsiteY2"/>
                </a:cxn>
              </a:cxnLst>
              <a:rect l="l" t="t" r="r" b="b"/>
              <a:pathLst>
                <a:path w="6085738" h="2251620">
                  <a:moveTo>
                    <a:pt x="6085739" y="0"/>
                  </a:moveTo>
                  <a:lnTo>
                    <a:pt x="0" y="359192"/>
                  </a:lnTo>
                  <a:lnTo>
                    <a:pt x="0" y="2251620"/>
                  </a:lnTo>
                  <a:close/>
                </a:path>
              </a:pathLst>
            </a:custGeom>
            <a:gradFill flip="none" rotWithShape="1">
              <a:gsLst>
                <a:gs pos="71000">
                  <a:srgbClr val="FEC802">
                    <a:alpha val="27451"/>
                  </a:srgbClr>
                </a:gs>
                <a:gs pos="25000">
                  <a:srgbClr val="FEC802">
                    <a:alpha val="59000"/>
                  </a:srgbClr>
                </a:gs>
                <a:gs pos="88000">
                  <a:srgbClr val="FEC802">
                    <a:alpha val="14902"/>
                  </a:srgbClr>
                </a:gs>
              </a:gsLst>
              <a:lin ang="1800000" scaled="0"/>
              <a:tileRect/>
            </a:grad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sp>
          <p:nvSpPr>
            <p:cNvPr id="92" name="Y_small">
              <a:extLst>
                <a:ext uri="{FF2B5EF4-FFF2-40B4-BE49-F238E27FC236}">
                  <a16:creationId xmlns:a16="http://schemas.microsoft.com/office/drawing/2014/main" id="{3E1DDA11-51B4-4981-850B-36EC7B52C061}"/>
                </a:ext>
              </a:extLst>
            </p:cNvPr>
            <p:cNvSpPr/>
            <p:nvPr userDrawn="1">
              <p:custDataLst>
                <p:tags r:id="rId6"/>
              </p:custDataLst>
            </p:nvPr>
          </p:nvSpPr>
          <p:spPr>
            <a:xfrm>
              <a:off x="4601" y="3559446"/>
              <a:ext cx="6085738" cy="2251620"/>
            </a:xfrm>
            <a:custGeom>
              <a:avLst/>
              <a:gdLst>
                <a:gd name="connsiteX0" fmla="*/ 6085739 w 6085738"/>
                <a:gd name="connsiteY0" fmla="*/ 0 h 2251620"/>
                <a:gd name="connsiteX1" fmla="*/ 0 w 6085738"/>
                <a:gd name="connsiteY1" fmla="*/ 359192 h 2251620"/>
                <a:gd name="connsiteX2" fmla="*/ 0 w 6085738"/>
                <a:gd name="connsiteY2" fmla="*/ 2251620 h 2251620"/>
              </a:gdLst>
              <a:ahLst/>
              <a:cxnLst>
                <a:cxn ang="0">
                  <a:pos x="connsiteX0" y="connsiteY0"/>
                </a:cxn>
                <a:cxn ang="0">
                  <a:pos x="connsiteX1" y="connsiteY1"/>
                </a:cxn>
                <a:cxn ang="0">
                  <a:pos x="connsiteX2" y="connsiteY2"/>
                </a:cxn>
              </a:cxnLst>
              <a:rect l="l" t="t" r="r" b="b"/>
              <a:pathLst>
                <a:path w="6085738" h="2251620">
                  <a:moveTo>
                    <a:pt x="6085739" y="0"/>
                  </a:moveTo>
                  <a:lnTo>
                    <a:pt x="0" y="359192"/>
                  </a:lnTo>
                  <a:lnTo>
                    <a:pt x="0" y="2251620"/>
                  </a:lnTo>
                  <a:close/>
                </a:path>
              </a:pathLst>
            </a:custGeom>
            <a:noFill/>
            <a:ln w="2149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p>
          </p:txBody>
        </p:sp>
      </p:grpSp>
      <p:grpSp>
        <p:nvGrpSpPr>
          <p:cNvPr id="58" name="Gruppieren 57">
            <a:extLst>
              <a:ext uri="{FF2B5EF4-FFF2-40B4-BE49-F238E27FC236}">
                <a16:creationId xmlns:a16="http://schemas.microsoft.com/office/drawing/2014/main" id="{01E49F3E-0827-4372-BF37-68E7AE6AA035}"/>
              </a:ext>
            </a:extLst>
          </p:cNvPr>
          <p:cNvGrpSpPr/>
          <p:nvPr userDrawn="1"/>
        </p:nvGrpSpPr>
        <p:grpSpPr bwMode="gray">
          <a:xfrm>
            <a:off x="335360" y="-171400"/>
            <a:ext cx="11521184" cy="72000"/>
            <a:chOff x="335360" y="-243408"/>
            <a:chExt cx="11521184" cy="72000"/>
          </a:xfrm>
        </p:grpSpPr>
        <p:sp>
          <p:nvSpPr>
            <p:cNvPr id="59" name="Rechteck 58">
              <a:extLst>
                <a:ext uri="{FF2B5EF4-FFF2-40B4-BE49-F238E27FC236}">
                  <a16:creationId xmlns:a16="http://schemas.microsoft.com/office/drawing/2014/main" id="{F7AF0AE1-44BA-45D5-8E8F-AFE7ACB50516}"/>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0" name="Rechteck 59">
              <a:extLst>
                <a:ext uri="{FF2B5EF4-FFF2-40B4-BE49-F238E27FC236}">
                  <a16:creationId xmlns:a16="http://schemas.microsoft.com/office/drawing/2014/main" id="{8D6950B8-4E25-4DCD-A70E-C2AD074BECCD}"/>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1" name="Rechteck 60">
              <a:extLst>
                <a:ext uri="{FF2B5EF4-FFF2-40B4-BE49-F238E27FC236}">
                  <a16:creationId xmlns:a16="http://schemas.microsoft.com/office/drawing/2014/main" id="{FA62C8B0-5C25-4181-9C9E-C3A8FD303FA5}"/>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2" name="Rechteck 61">
              <a:extLst>
                <a:ext uri="{FF2B5EF4-FFF2-40B4-BE49-F238E27FC236}">
                  <a16:creationId xmlns:a16="http://schemas.microsoft.com/office/drawing/2014/main" id="{35BDB4AA-BF4A-4856-97E6-A1849D139145}"/>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3" name="Rechteck 62">
              <a:extLst>
                <a:ext uri="{FF2B5EF4-FFF2-40B4-BE49-F238E27FC236}">
                  <a16:creationId xmlns:a16="http://schemas.microsoft.com/office/drawing/2014/main" id="{5753F73A-142C-4BD0-88AE-0F592C69C49B}"/>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4" name="Rechteck 63">
              <a:extLst>
                <a:ext uri="{FF2B5EF4-FFF2-40B4-BE49-F238E27FC236}">
                  <a16:creationId xmlns:a16="http://schemas.microsoft.com/office/drawing/2014/main" id="{7DFE79F9-F5C5-4AF6-BD60-FE31A66E7F2E}"/>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5" name="Rechteck 64">
              <a:extLst>
                <a:ext uri="{FF2B5EF4-FFF2-40B4-BE49-F238E27FC236}">
                  <a16:creationId xmlns:a16="http://schemas.microsoft.com/office/drawing/2014/main" id="{7F12BE55-2890-494B-9657-7D58EB264E9C}"/>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6" name="Rechteck 65">
              <a:extLst>
                <a:ext uri="{FF2B5EF4-FFF2-40B4-BE49-F238E27FC236}">
                  <a16:creationId xmlns:a16="http://schemas.microsoft.com/office/drawing/2014/main" id="{B5EC224D-FF16-4BDD-9DFC-C1398A7BE4CE}"/>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7" name="Rechteck 66">
              <a:extLst>
                <a:ext uri="{FF2B5EF4-FFF2-40B4-BE49-F238E27FC236}">
                  <a16:creationId xmlns:a16="http://schemas.microsoft.com/office/drawing/2014/main" id="{A458E8D9-6BB1-47CB-B400-6CE739957F51}"/>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8" name="Rechteck 67">
              <a:extLst>
                <a:ext uri="{FF2B5EF4-FFF2-40B4-BE49-F238E27FC236}">
                  <a16:creationId xmlns:a16="http://schemas.microsoft.com/office/drawing/2014/main" id="{15B3E784-45A6-4C59-B194-785592C56B1A}"/>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69" name="Rechteck 68">
              <a:extLst>
                <a:ext uri="{FF2B5EF4-FFF2-40B4-BE49-F238E27FC236}">
                  <a16:creationId xmlns:a16="http://schemas.microsoft.com/office/drawing/2014/main" id="{92BAC775-D20E-4681-9394-66536754C9D0}"/>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70" name="Rechteck 69">
              <a:extLst>
                <a:ext uri="{FF2B5EF4-FFF2-40B4-BE49-F238E27FC236}">
                  <a16:creationId xmlns:a16="http://schemas.microsoft.com/office/drawing/2014/main" id="{085C5F6F-F063-4D71-A489-C6FE0CD3D778}"/>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grpSp>
      <p:grpSp>
        <p:nvGrpSpPr>
          <p:cNvPr id="71" name="Gruppieren 70">
            <a:extLst>
              <a:ext uri="{FF2B5EF4-FFF2-40B4-BE49-F238E27FC236}">
                <a16:creationId xmlns:a16="http://schemas.microsoft.com/office/drawing/2014/main" id="{702051F8-1FE0-4737-B0AA-28FCBD8AFD57}"/>
              </a:ext>
            </a:extLst>
          </p:cNvPr>
          <p:cNvGrpSpPr/>
          <p:nvPr userDrawn="1"/>
        </p:nvGrpSpPr>
        <p:grpSpPr bwMode="gray">
          <a:xfrm>
            <a:off x="335360" y="-171400"/>
            <a:ext cx="11521280" cy="72000"/>
            <a:chOff x="335360" y="-243408"/>
            <a:chExt cx="11521280" cy="216000"/>
          </a:xfrm>
        </p:grpSpPr>
        <p:cxnSp>
          <p:nvCxnSpPr>
            <p:cNvPr id="80" name="Gerader Verbinder 79">
              <a:extLst>
                <a:ext uri="{FF2B5EF4-FFF2-40B4-BE49-F238E27FC236}">
                  <a16:creationId xmlns:a16="http://schemas.microsoft.com/office/drawing/2014/main" id="{4AA58BF0-F03D-46F5-AB20-B48C1DA0EF0A}"/>
                </a:ext>
              </a:extLst>
            </p:cNvPr>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5FE3E5F5-F0A4-40E2-8C7B-DFF0824F1D13}"/>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B1B7091-A563-4679-9D3B-ED317DC3C8DC}"/>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C414E512-92BC-49C7-A5AB-8C7D6B7060EA}"/>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CD91D318-22DB-4ECB-A499-6CDD99BF61A2}"/>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7AFCDB14-B0F5-4C1C-98A2-A6980782E1D2}"/>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9CF0F0EB-0371-4F97-8E29-C535F1E42867}"/>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A002C973-06CA-4162-9697-25DD63C1D160}"/>
                </a:ext>
              </a:extLst>
            </p:cNvPr>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4787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250"/>
                                        <p:tgtEl>
                                          <p:spTgt spid="55"/>
                                        </p:tgtEl>
                                      </p:cBhvr>
                                    </p:animEffect>
                                    <p:set>
                                      <p:cBhvr>
                                        <p:cTn id="7" dur="1" fill="hold">
                                          <p:stCondLst>
                                            <p:cond delay="249"/>
                                          </p:stCondLst>
                                        </p:cTn>
                                        <p:tgtEl>
                                          <p:spTgt spid="55"/>
                                        </p:tgtEl>
                                        <p:attrNameLst>
                                          <p:attrName>style.visibility</p:attrName>
                                        </p:attrNameLst>
                                      </p:cBhvr>
                                      <p:to>
                                        <p:strVal val="hidden"/>
                                      </p:to>
                                    </p:set>
                                  </p:childTnLst>
                                </p:cTn>
                              </p:par>
                              <p:par>
                                <p:cTn id="8" presetID="10" presetClass="exit" presetSubtype="0" fill="hold" grpId="0" nodeType="withEffect">
                                  <p:stCondLst>
                                    <p:cond delay="250"/>
                                  </p:stCondLst>
                                  <p:childTnLst>
                                    <p:animEffect transition="out" filter="fade">
                                      <p:cBhvr>
                                        <p:cTn id="9" dur="250"/>
                                        <p:tgtEl>
                                          <p:spTgt spid="56"/>
                                        </p:tgtEl>
                                      </p:cBhvr>
                                    </p:animEffect>
                                    <p:set>
                                      <p:cBhvr>
                                        <p:cTn id="10" dur="1" fill="hold">
                                          <p:stCondLst>
                                            <p:cond delay="249"/>
                                          </p:stCondLst>
                                        </p:cTn>
                                        <p:tgtEl>
                                          <p:spTgt spid="56"/>
                                        </p:tgtEl>
                                        <p:attrNameLst>
                                          <p:attrName>style.visibility</p:attrName>
                                        </p:attrNameLst>
                                      </p:cBhvr>
                                      <p:to>
                                        <p:strVal val="hidden"/>
                                      </p:to>
                                    </p:set>
                                  </p:childTnLst>
                                </p:cTn>
                              </p:par>
                              <p:par>
                                <p:cTn id="11" presetID="10" presetClass="exit" presetSubtype="0" fill="hold" grpId="0" nodeType="withEffect">
                                  <p:stCondLst>
                                    <p:cond delay="450"/>
                                  </p:stCondLst>
                                  <p:childTnLst>
                                    <p:animEffect transition="out" filter="fade">
                                      <p:cBhvr>
                                        <p:cTn id="12" dur="250"/>
                                        <p:tgtEl>
                                          <p:spTgt spid="57"/>
                                        </p:tgtEl>
                                      </p:cBhvr>
                                    </p:animEffect>
                                    <p:set>
                                      <p:cBhvr>
                                        <p:cTn id="13" dur="1" fill="hold">
                                          <p:stCondLst>
                                            <p:cond delay="249"/>
                                          </p:stCondLst>
                                        </p:cTn>
                                        <p:tgtEl>
                                          <p:spTgt spid="57"/>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37"/>
                                        </p:tgtEl>
                                      </p:cBhvr>
                                    </p:animEffect>
                                    <p:set>
                                      <p:cBhvr>
                                        <p:cTn id="16" dur="1" fill="hold">
                                          <p:stCondLst>
                                            <p:cond delay="499"/>
                                          </p:stCondLst>
                                        </p:cTn>
                                        <p:tgtEl>
                                          <p:spTgt spid="37"/>
                                        </p:tgtEl>
                                        <p:attrNameLst>
                                          <p:attrName>style.visibility</p:attrName>
                                        </p:attrNameLst>
                                      </p:cBhvr>
                                      <p:to>
                                        <p:strVal val="hidden"/>
                                      </p:to>
                                    </p:set>
                                  </p:childTnLst>
                                </p:cTn>
                              </p:par>
                              <p:par>
                                <p:cTn id="17" presetID="63" presetClass="path" presetSubtype="0" accel="100000" fill="hold" nodeType="withEffect">
                                  <p:stCondLst>
                                    <p:cond delay="0"/>
                                  </p:stCondLst>
                                  <p:childTnLst>
                                    <p:animMotion origin="layout" path="M 3.54167E-6 3.7037E-6 L 0.09257 3.7037E-6 " pathEditMode="relative" rAng="0" ptsTypes="AA">
                                      <p:cBhvr>
                                        <p:cTn id="18" dur="1000" fill="hold"/>
                                        <p:tgtEl>
                                          <p:spTgt spid="37"/>
                                        </p:tgtEl>
                                        <p:attrNameLst>
                                          <p:attrName>ppt_x</p:attrName>
                                          <p:attrName>ppt_y</p:attrName>
                                        </p:attrNameLst>
                                      </p:cBhvr>
                                      <p:rCtr x="4622" y="0"/>
                                    </p:animMotion>
                                  </p:childTnLst>
                                </p:cTn>
                              </p:par>
                              <p:par>
                                <p:cTn id="19" presetID="10" presetClass="exit" presetSubtype="0" fill="hold" nodeType="withEffect">
                                  <p:stCondLst>
                                    <p:cond delay="0"/>
                                  </p:stCondLst>
                                  <p:childTnLst>
                                    <p:animEffect transition="out" filter="fade">
                                      <p:cBhvr>
                                        <p:cTn id="20" dur="500"/>
                                        <p:tgtEl>
                                          <p:spTgt spid="30"/>
                                        </p:tgtEl>
                                      </p:cBhvr>
                                    </p:animEffect>
                                    <p:set>
                                      <p:cBhvr>
                                        <p:cTn id="21" dur="1" fill="hold">
                                          <p:stCondLst>
                                            <p:cond delay="499"/>
                                          </p:stCondLst>
                                        </p:cTn>
                                        <p:tgtEl>
                                          <p:spTgt spid="30"/>
                                        </p:tgtEl>
                                        <p:attrNameLst>
                                          <p:attrName>style.visibility</p:attrName>
                                        </p:attrNameLst>
                                      </p:cBhvr>
                                      <p:to>
                                        <p:strVal val="hidden"/>
                                      </p:to>
                                    </p:set>
                                  </p:childTnLst>
                                </p:cTn>
                              </p:par>
                              <p:par>
                                <p:cTn id="22" presetID="35" presetClass="path" presetSubtype="0" accel="100000" fill="hold" nodeType="withEffect">
                                  <p:stCondLst>
                                    <p:cond delay="0"/>
                                  </p:stCondLst>
                                  <p:childTnLst>
                                    <p:animMotion origin="layout" path="M 4.58333E-6 -4.81481E-6 L -0.08816 -4.81481E-6 " pathEditMode="relative" rAng="0" ptsTypes="AA">
                                      <p:cBhvr>
                                        <p:cTn id="23" dur="1000" fill="hold"/>
                                        <p:tgtEl>
                                          <p:spTgt spid="30"/>
                                        </p:tgtEl>
                                        <p:attrNameLst>
                                          <p:attrName>ppt_x</p:attrName>
                                          <p:attrName>ppt_y</p:attrName>
                                        </p:attrNameLst>
                                      </p:cBhvr>
                                      <p:rCtr x="-4414" y="0"/>
                                    </p:animMotion>
                                  </p:childTnLst>
                                </p:cTn>
                              </p:par>
                              <p:par>
                                <p:cTn id="24" presetID="10" presetClass="exit" presetSubtype="0" fill="hold" nodeType="withEffect">
                                  <p:stCondLst>
                                    <p:cond delay="250"/>
                                  </p:stCondLst>
                                  <p:childTnLst>
                                    <p:animEffect transition="out" filter="fade">
                                      <p:cBhvr>
                                        <p:cTn id="25" dur="500"/>
                                        <p:tgtEl>
                                          <p:spTgt spid="4"/>
                                        </p:tgtEl>
                                      </p:cBhvr>
                                    </p:animEffect>
                                    <p:set>
                                      <p:cBhvr>
                                        <p:cTn id="26" dur="1" fill="hold">
                                          <p:stCondLst>
                                            <p:cond delay="499"/>
                                          </p:stCondLst>
                                        </p:cTn>
                                        <p:tgtEl>
                                          <p:spTgt spid="4"/>
                                        </p:tgtEl>
                                        <p:attrNameLst>
                                          <p:attrName>style.visibility</p:attrName>
                                        </p:attrNameLst>
                                      </p:cBhvr>
                                      <p:to>
                                        <p:strVal val="hidden"/>
                                      </p:to>
                                    </p:set>
                                  </p:childTnLst>
                                </p:cTn>
                              </p:par>
                              <p:par>
                                <p:cTn id="27" presetID="8" presetClass="emph" presetSubtype="0" accel="100000" fill="hold" nodeType="withEffect">
                                  <p:stCondLst>
                                    <p:cond delay="0"/>
                                  </p:stCondLst>
                                  <p:childTnLst>
                                    <p:animRot by="10800000">
                                      <p:cBhvr>
                                        <p:cTn id="28" dur="1250" fill="hold"/>
                                        <p:tgtEl>
                                          <p:spTgt spid="4"/>
                                        </p:tgtEl>
                                        <p:attrNameLst>
                                          <p:attrName>r</p:attrName>
                                        </p:attrNameLst>
                                      </p:cBhvr>
                                    </p:animRot>
                                  </p:childTnLst>
                                </p:cTn>
                              </p:par>
                              <p:par>
                                <p:cTn id="29" presetID="35" presetClass="path" presetSubtype="0" accel="50000" decel="50000" fill="hold" nodeType="withEffect">
                                  <p:stCondLst>
                                    <p:cond delay="0"/>
                                  </p:stCondLst>
                                  <p:childTnLst>
                                    <p:animMotion origin="layout" path="M -4.16667E-7 -1.48148E-6 L -4.16667E-7 0.20648 " pathEditMode="relative" rAng="0" ptsTypes="AA">
                                      <p:cBhvr>
                                        <p:cTn id="30" dur="1250" fill="hold"/>
                                        <p:tgtEl>
                                          <p:spTgt spid="4"/>
                                        </p:tgtEl>
                                        <p:attrNameLst>
                                          <p:attrName>ppt_x</p:attrName>
                                          <p:attrName>ppt_y</p:attrName>
                                        </p:attrNameLst>
                                      </p:cBhvr>
                                      <p:rCtr x="0" y="10324"/>
                                    </p:animMotion>
                                  </p:childTnLst>
                                </p:cTn>
                              </p:par>
                              <p:par>
                                <p:cTn id="31" presetID="10" presetClass="exit" presetSubtype="0" fill="hold" nodeType="withEffect">
                                  <p:stCondLst>
                                    <p:cond delay="500"/>
                                  </p:stCondLst>
                                  <p:childTnLst>
                                    <p:animEffect transition="out" filter="fade">
                                      <p:cBhvr>
                                        <p:cTn id="32" dur="500"/>
                                        <p:tgtEl>
                                          <p:spTgt spid="8"/>
                                        </p:tgtEl>
                                      </p:cBhvr>
                                    </p:animEffect>
                                    <p:set>
                                      <p:cBhvr>
                                        <p:cTn id="33" dur="1" fill="hold">
                                          <p:stCondLst>
                                            <p:cond delay="499"/>
                                          </p:stCondLst>
                                        </p:cTn>
                                        <p:tgtEl>
                                          <p:spTgt spid="8"/>
                                        </p:tgtEl>
                                        <p:attrNameLst>
                                          <p:attrName>style.visibility</p:attrName>
                                        </p:attrNameLst>
                                      </p:cBhvr>
                                      <p:to>
                                        <p:strVal val="hidden"/>
                                      </p:to>
                                    </p:set>
                                  </p:childTnLst>
                                </p:cTn>
                              </p:par>
                              <p:par>
                                <p:cTn id="34" presetID="8" presetClass="emph" presetSubtype="0" accel="100000" fill="hold" nodeType="withEffect">
                                  <p:stCondLst>
                                    <p:cond delay="0"/>
                                  </p:stCondLst>
                                  <p:childTnLst>
                                    <p:animRot by="-10800000">
                                      <p:cBhvr>
                                        <p:cTn id="35" dur="2000" fill="hold"/>
                                        <p:tgtEl>
                                          <p:spTgt spid="8"/>
                                        </p:tgtEl>
                                        <p:attrNameLst>
                                          <p:attrName>r</p:attrName>
                                        </p:attrNameLst>
                                      </p:cBhvr>
                                    </p:animRot>
                                  </p:childTnLst>
                                </p:cTn>
                              </p:par>
                              <p:par>
                                <p:cTn id="36" presetID="63" presetClass="path" presetSubtype="0" accel="50000" decel="50000" fill="hold" nodeType="withEffect">
                                  <p:stCondLst>
                                    <p:cond delay="0"/>
                                  </p:stCondLst>
                                  <p:childTnLst>
                                    <p:animMotion origin="layout" path="M -3.95833E-6 3.7037E-7 L 0.07227 3.7037E-7 " pathEditMode="relative" rAng="0" ptsTypes="AA">
                                      <p:cBhvr>
                                        <p:cTn id="37" dur="2000" fill="hold"/>
                                        <p:tgtEl>
                                          <p:spTgt spid="8"/>
                                        </p:tgtEl>
                                        <p:attrNameLst>
                                          <p:attrName>ppt_x</p:attrName>
                                          <p:attrName>ppt_y</p:attrName>
                                        </p:attrNameLst>
                                      </p:cBhvr>
                                      <p:rCtr x="3607" y="0"/>
                                    </p:animMotion>
                                  </p:childTnLst>
                                </p:cTn>
                              </p:par>
                              <p:par>
                                <p:cTn id="38" presetID="10" presetClass="exit" presetSubtype="0" fill="hold" nodeType="withEffect">
                                  <p:stCondLst>
                                    <p:cond delay="250"/>
                                  </p:stCondLst>
                                  <p:childTnLst>
                                    <p:animEffect transition="out" filter="fade">
                                      <p:cBhvr>
                                        <p:cTn id="39" dur="500"/>
                                        <p:tgtEl>
                                          <p:spTgt spid="9"/>
                                        </p:tgtEl>
                                      </p:cBhvr>
                                    </p:animEffect>
                                    <p:set>
                                      <p:cBhvr>
                                        <p:cTn id="40" dur="1" fill="hold">
                                          <p:stCondLst>
                                            <p:cond delay="499"/>
                                          </p:stCondLst>
                                        </p:cTn>
                                        <p:tgtEl>
                                          <p:spTgt spid="9"/>
                                        </p:tgtEl>
                                        <p:attrNameLst>
                                          <p:attrName>style.visibility</p:attrName>
                                        </p:attrNameLst>
                                      </p:cBhvr>
                                      <p:to>
                                        <p:strVal val="hidden"/>
                                      </p:to>
                                    </p:set>
                                  </p:childTnLst>
                                </p:cTn>
                              </p:par>
                              <p:par>
                                <p:cTn id="41" presetID="8" presetClass="emph" presetSubtype="0" accel="100000" fill="hold" nodeType="withEffect">
                                  <p:stCondLst>
                                    <p:cond delay="0"/>
                                  </p:stCondLst>
                                  <p:childTnLst>
                                    <p:animRot by="-10800000">
                                      <p:cBhvr>
                                        <p:cTn id="42" dur="1500" fill="hold"/>
                                        <p:tgtEl>
                                          <p:spTgt spid="9"/>
                                        </p:tgtEl>
                                        <p:attrNameLst>
                                          <p:attrName>r</p:attrName>
                                        </p:attrNameLst>
                                      </p:cBhvr>
                                    </p:animRot>
                                  </p:childTnLst>
                                </p:cTn>
                              </p:par>
                              <p:par>
                                <p:cTn id="43" presetID="10" presetClass="exit" presetSubtype="0" fill="hold" nodeType="withEffect">
                                  <p:stCondLst>
                                    <p:cond delay="25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8" presetClass="emph" presetSubtype="0" accel="100000" fill="hold" nodeType="withEffect">
                                  <p:stCondLst>
                                    <p:cond delay="0"/>
                                  </p:stCondLst>
                                  <p:childTnLst>
                                    <p:animRot by="10800000">
                                      <p:cBhvr>
                                        <p:cTn id="47" dur="2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 Contact I Yellow background">
    <p:bg>
      <p:bgPr>
        <a:solidFill>
          <a:schemeClr val="bg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5B1ED6C7-874B-48DA-9863-36EFF820C2ED}"/>
              </a:ext>
            </a:extLst>
          </p:cNvPr>
          <p:cNvSpPr/>
          <p:nvPr userDrawn="1">
            <p:custDataLst>
              <p:tags r:id="rId1"/>
            </p:custDataLst>
          </p:nvPr>
        </p:nvSpPr>
        <p:spPr bwMode="gray">
          <a:xfrm>
            <a:off x="0" y="0"/>
            <a:ext cx="6096000" cy="685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err="1">
              <a:solidFill>
                <a:schemeClr val="tx1"/>
              </a:solidFill>
            </a:endParaRPr>
          </a:p>
        </p:txBody>
      </p:sp>
      <p:sp>
        <p:nvSpPr>
          <p:cNvPr id="4" name="Rechteck 3">
            <a:extLst>
              <a:ext uri="{FF2B5EF4-FFF2-40B4-BE49-F238E27FC236}">
                <a16:creationId xmlns:a16="http://schemas.microsoft.com/office/drawing/2014/main" id="{908C9BC4-55C0-46A2-8E55-48D296735C6A}"/>
              </a:ext>
            </a:extLst>
          </p:cNvPr>
          <p:cNvSpPr/>
          <p:nvPr userDrawn="1"/>
        </p:nvSpPr>
        <p:spPr bwMode="gray">
          <a:xfrm>
            <a:off x="11164370" y="260648"/>
            <a:ext cx="836286" cy="202265"/>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12" name="Fußzeilenplatzhalter 5">
            <a:extLst>
              <a:ext uri="{FF2B5EF4-FFF2-40B4-BE49-F238E27FC236}">
                <a16:creationId xmlns:a16="http://schemas.microsoft.com/office/drawing/2014/main" id="{D8EB16C9-EA0B-4F3F-9594-3CC7EBDF686E}"/>
              </a:ext>
            </a:extLst>
          </p:cNvPr>
          <p:cNvSpPr>
            <a:spLocks noGrp="1"/>
          </p:cNvSpPr>
          <p:nvPr>
            <p:ph type="ftr" sz="quarter" idx="11"/>
          </p:nvPr>
        </p:nvSpPr>
        <p:spPr bwMode="gray">
          <a:xfrm>
            <a:off x="8831966" y="304475"/>
            <a:ext cx="1801058" cy="144000"/>
          </a:xfrm>
        </p:spPr>
        <p:txBody>
          <a:bodyPr/>
          <a:lstStyle>
            <a:lvl1pPr>
              <a:defRPr>
                <a:solidFill>
                  <a:schemeClr val="tx1"/>
                </a:solidFill>
              </a:defRPr>
            </a:lvl1pPr>
          </a:lstStyle>
          <a:p>
            <a:r>
              <a:rPr lang="en-GB"/>
              <a:t>Green Gantry</a:t>
            </a:r>
          </a:p>
        </p:txBody>
      </p:sp>
      <p:sp>
        <p:nvSpPr>
          <p:cNvPr id="13" name="Foliennummernplatzhalter 6">
            <a:extLst>
              <a:ext uri="{FF2B5EF4-FFF2-40B4-BE49-F238E27FC236}">
                <a16:creationId xmlns:a16="http://schemas.microsoft.com/office/drawing/2014/main" id="{5A2B5D64-02D6-4BBF-A4FD-42AD36B29405}"/>
              </a:ext>
            </a:extLst>
          </p:cNvPr>
          <p:cNvSpPr>
            <a:spLocks noGrp="1"/>
          </p:cNvSpPr>
          <p:nvPr>
            <p:ph type="sldNum" sz="quarter" idx="12"/>
          </p:nvPr>
        </p:nvSpPr>
        <p:spPr bwMode="gray">
          <a:xfrm>
            <a:off x="10777040" y="304475"/>
            <a:ext cx="287512" cy="144000"/>
          </a:xfrm>
        </p:spPr>
        <p:txBody>
          <a:bodyPr/>
          <a:lstStyle>
            <a:lvl1pPr>
              <a:defRPr>
                <a:solidFill>
                  <a:schemeClr val="tx1"/>
                </a:solidFill>
              </a:defRPr>
            </a:lvl1pPr>
          </a:lstStyle>
          <a:p>
            <a:fld id="{8FF9B0DE-3FEB-4AA0-B465-B80EF7C1333D}" type="slidenum">
              <a:rPr lang="en-GB" smtClean="0"/>
              <a:pPr/>
              <a:t>‹Nr.›</a:t>
            </a:fld>
            <a:endParaRPr lang="en-GB"/>
          </a:p>
        </p:txBody>
      </p:sp>
      <p:cxnSp>
        <p:nvCxnSpPr>
          <p:cNvPr id="15" name="Gerader Verbinder 14">
            <a:extLst>
              <a:ext uri="{FF2B5EF4-FFF2-40B4-BE49-F238E27FC236}">
                <a16:creationId xmlns:a16="http://schemas.microsoft.com/office/drawing/2014/main" id="{66595692-0001-42BE-9059-19018FB52CF5}"/>
              </a:ext>
            </a:extLst>
          </p:cNvPr>
          <p:cNvCxnSpPr>
            <a:cxnSpLocks/>
          </p:cNvCxnSpPr>
          <p:nvPr userDrawn="1"/>
        </p:nvCxnSpPr>
        <p:spPr bwMode="gray">
          <a:xfrm>
            <a:off x="10705032" y="304974"/>
            <a:ext cx="0" cy="157939"/>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uppieren 5">
            <a:extLst>
              <a:ext uri="{FF2B5EF4-FFF2-40B4-BE49-F238E27FC236}">
                <a16:creationId xmlns:a16="http://schemas.microsoft.com/office/drawing/2014/main" id="{0723E407-AE1A-4155-BBBE-FE22BC43E4E1}"/>
              </a:ext>
            </a:extLst>
          </p:cNvPr>
          <p:cNvGrpSpPr/>
          <p:nvPr userDrawn="1"/>
        </p:nvGrpSpPr>
        <p:grpSpPr bwMode="gray">
          <a:xfrm>
            <a:off x="-168688" y="1700808"/>
            <a:ext cx="72000" cy="4824536"/>
            <a:chOff x="-456728" y="1700808"/>
            <a:chExt cx="216000" cy="4824536"/>
          </a:xfrm>
        </p:grpSpPr>
        <p:cxnSp>
          <p:nvCxnSpPr>
            <p:cNvPr id="18" name="Gerader Verbinder 7">
              <a:extLst>
                <a:ext uri="{FF2B5EF4-FFF2-40B4-BE49-F238E27FC236}">
                  <a16:creationId xmlns:a16="http://schemas.microsoft.com/office/drawing/2014/main" id="{7C24C79B-9AF1-4643-BD3A-AE1A19E3E9E0}"/>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8">
              <a:extLst>
                <a:ext uri="{FF2B5EF4-FFF2-40B4-BE49-F238E27FC236}">
                  <a16:creationId xmlns:a16="http://schemas.microsoft.com/office/drawing/2014/main" id="{1B11D080-6847-40AF-AC54-F87EEEC6AECC}"/>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Gerader Verbinder 9">
            <a:extLst>
              <a:ext uri="{FF2B5EF4-FFF2-40B4-BE49-F238E27FC236}">
                <a16:creationId xmlns:a16="http://schemas.microsoft.com/office/drawing/2014/main" id="{9A2F0E56-9603-4265-AB45-28D69273F545}"/>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10">
            <a:extLst>
              <a:ext uri="{FF2B5EF4-FFF2-40B4-BE49-F238E27FC236}">
                <a16:creationId xmlns:a16="http://schemas.microsoft.com/office/drawing/2014/main" id="{42CB10B1-2B55-416A-9C52-BD80679F851B}"/>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feld 11">
            <a:extLst>
              <a:ext uri="{FF2B5EF4-FFF2-40B4-BE49-F238E27FC236}">
                <a16:creationId xmlns:a16="http://schemas.microsoft.com/office/drawing/2014/main" id="{520F09E3-8BBA-45C7-ADD2-E0E6845B3F7C}"/>
              </a:ext>
            </a:extLst>
          </p:cNvPr>
          <p:cNvSpPr txBox="1"/>
          <p:nvPr userDrawn="1"/>
        </p:nvSpPr>
        <p:spPr bwMode="gray">
          <a:xfrm>
            <a:off x="-1427636" y="188640"/>
            <a:ext cx="1227414" cy="246221"/>
          </a:xfrm>
          <a:prstGeom prst="rect">
            <a:avLst/>
          </a:prstGeom>
          <a:noFill/>
        </p:spPr>
        <p:txBody>
          <a:bodyPr wrap="square">
            <a:spAutoFit/>
          </a:bodyPr>
          <a:lstStyle/>
          <a:p>
            <a:pPr algn="r"/>
            <a:r>
              <a:rPr lang="de-DE" sz="1000"/>
              <a:t>Headline</a:t>
            </a:r>
          </a:p>
        </p:txBody>
      </p:sp>
      <p:sp>
        <p:nvSpPr>
          <p:cNvPr id="23" name="Textfeld 12">
            <a:extLst>
              <a:ext uri="{FF2B5EF4-FFF2-40B4-BE49-F238E27FC236}">
                <a16:creationId xmlns:a16="http://schemas.microsoft.com/office/drawing/2014/main" id="{D567C273-8805-449B-9474-6E031CA7B292}"/>
              </a:ext>
            </a:extLst>
          </p:cNvPr>
          <p:cNvSpPr txBox="1"/>
          <p:nvPr userDrawn="1"/>
        </p:nvSpPr>
        <p:spPr bwMode="gray">
          <a:xfrm>
            <a:off x="-1427636" y="980728"/>
            <a:ext cx="1227414" cy="246221"/>
          </a:xfrm>
          <a:prstGeom prst="rect">
            <a:avLst/>
          </a:prstGeom>
          <a:noFill/>
        </p:spPr>
        <p:txBody>
          <a:bodyPr wrap="square">
            <a:spAutoFit/>
          </a:bodyPr>
          <a:lstStyle/>
          <a:p>
            <a:pPr algn="r"/>
            <a:r>
              <a:rPr lang="de-DE" sz="1000"/>
              <a:t>Subline</a:t>
            </a:r>
          </a:p>
        </p:txBody>
      </p:sp>
      <p:sp>
        <p:nvSpPr>
          <p:cNvPr id="24" name="Textfeld 13">
            <a:extLst>
              <a:ext uri="{FF2B5EF4-FFF2-40B4-BE49-F238E27FC236}">
                <a16:creationId xmlns:a16="http://schemas.microsoft.com/office/drawing/2014/main" id="{3306A8F7-E796-4D23-A9A9-F58D97783F93}"/>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a:t>Content</a:t>
            </a:r>
          </a:p>
        </p:txBody>
      </p:sp>
      <p:cxnSp>
        <p:nvCxnSpPr>
          <p:cNvPr id="28" name="Gerader Verbinder 27">
            <a:extLst>
              <a:ext uri="{FF2B5EF4-FFF2-40B4-BE49-F238E27FC236}">
                <a16:creationId xmlns:a16="http://schemas.microsoft.com/office/drawing/2014/main" id="{E23AF962-DC7B-467B-A769-36818D6630E0}"/>
              </a:ext>
            </a:extLst>
          </p:cNvPr>
          <p:cNvCxnSpPr>
            <a:cxnSpLocks/>
          </p:cNvCxnSpPr>
          <p:nvPr userDrawn="1"/>
        </p:nvCxnSpPr>
        <p:spPr bwMode="gray">
          <a:xfrm>
            <a:off x="11136560" y="0"/>
            <a:ext cx="0" cy="462913"/>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pic>
        <p:nvPicPr>
          <p:cNvPr id="29" name="Grafik 28">
            <a:extLst>
              <a:ext uri="{FF2B5EF4-FFF2-40B4-BE49-F238E27FC236}">
                <a16:creationId xmlns:a16="http://schemas.microsoft.com/office/drawing/2014/main" id="{88089EFB-A42C-433F-AC79-42042E93E1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08568" y="311701"/>
            <a:ext cx="720080" cy="120440"/>
          </a:xfrm>
          <a:prstGeom prst="rect">
            <a:avLst/>
          </a:prstGeom>
        </p:spPr>
      </p:pic>
      <p:sp>
        <p:nvSpPr>
          <p:cNvPr id="25" name="Bildplatzhalter 19">
            <a:extLst>
              <a:ext uri="{FF2B5EF4-FFF2-40B4-BE49-F238E27FC236}">
                <a16:creationId xmlns:a16="http://schemas.microsoft.com/office/drawing/2014/main" id="{CB0D47D6-140D-432A-9B80-30831A2761BD}"/>
              </a:ext>
            </a:extLst>
          </p:cNvPr>
          <p:cNvSpPr>
            <a:spLocks noGrp="1"/>
          </p:cNvSpPr>
          <p:nvPr>
            <p:ph type="pic" sz="quarter" idx="15" hasCustomPrompt="1"/>
          </p:nvPr>
        </p:nvSpPr>
        <p:spPr bwMode="gray">
          <a:xfrm>
            <a:off x="1276962" y="1702977"/>
            <a:ext cx="3528000" cy="3528000"/>
          </a:xfrm>
          <a:prstGeom prst="ellipse">
            <a:avLst/>
          </a:prstGeom>
          <a:noFill/>
          <a:ln w="38100">
            <a:solidFill>
              <a:schemeClr val="bg2"/>
            </a:solidFill>
          </a:ln>
        </p:spPr>
        <p:txBody>
          <a:bodyPr wrap="square" lIns="0" tIns="144000" rIns="0" bIns="828000" anchor="ctr" anchorCtr="0">
            <a:noAutofit/>
          </a:bodyPr>
          <a:lstStyle>
            <a:lvl1pPr algn="ct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a:t>Image </a:t>
            </a:r>
            <a:br>
              <a:rPr lang="en-GB"/>
            </a:br>
            <a:r>
              <a:rPr lang="en-GB"/>
              <a:t>Placeholder</a:t>
            </a:r>
          </a:p>
        </p:txBody>
      </p:sp>
    </p:spTree>
    <p:extLst>
      <p:ext uri="{BB962C8B-B14F-4D97-AF65-F5344CB8AC3E}">
        <p14:creationId xmlns:p14="http://schemas.microsoft.com/office/powerpoint/2010/main" val="4776792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71">
          <p15:clr>
            <a:srgbClr val="5ACBF0"/>
          </p15:clr>
        </p15:guide>
        <p15:guide id="2" orient="horz" pos="70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Headline I Subline I 3 Images I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dirty="0"/>
              <a:t>Heading </a:t>
            </a:r>
            <a:br>
              <a:rPr lang="en-GB" dirty="0"/>
            </a:br>
            <a:r>
              <a:rPr lang="en-GB" dirty="0"/>
              <a:t>in two lines. </a:t>
            </a:r>
          </a:p>
        </p:txBody>
      </p:sp>
      <p:sp>
        <p:nvSpPr>
          <p:cNvPr id="4" name="Fußzeilenplatzhalter 3"/>
          <p:cNvSpPr>
            <a:spLocks noGrp="1"/>
          </p:cNvSpPr>
          <p:nvPr>
            <p:ph type="ftr" sz="quarter" idx="11"/>
          </p:nvPr>
        </p:nvSpPr>
        <p:spPr bwMode="gray"/>
        <p:txBody>
          <a:bodyPr/>
          <a:lstStyle/>
          <a:p>
            <a:r>
              <a:rPr lang="en-GB" i="1"/>
              <a:t>Slide Library</a:t>
            </a:r>
            <a:endParaRPr lang="en-GB" i="1" dirty="0"/>
          </a:p>
        </p:txBody>
      </p:sp>
      <p:sp>
        <p:nvSpPr>
          <p:cNvPr id="5" name="Foliennummernplatzhalter 4"/>
          <p:cNvSpPr>
            <a:spLocks noGrp="1"/>
          </p:cNvSpPr>
          <p:nvPr>
            <p:ph type="sldNum" sz="quarter" idx="12"/>
          </p:nvPr>
        </p:nvSpPr>
        <p:spPr bwMode="gray"/>
        <p:txBody>
          <a:bodyPr/>
          <a:lstStyle/>
          <a:p>
            <a:fld id="{8FF9B0DE-3FEB-4AA0-B465-B80EF7C1333D}" type="slidenum">
              <a:rPr lang="en-GB" smtClean="0"/>
              <a:t>‹Nr.›</a:t>
            </a:fld>
            <a:endParaRPr lang="en-GB" dirty="0"/>
          </a:p>
        </p:txBody>
      </p:sp>
      <p:sp>
        <p:nvSpPr>
          <p:cNvPr id="7" name="Textplatzhalter 9"/>
          <p:cNvSpPr>
            <a:spLocks noGrp="1"/>
          </p:cNvSpPr>
          <p:nvPr>
            <p:ph type="body" sz="quarter" idx="14" hasCustomPrompt="1"/>
          </p:nvPr>
        </p:nvSpPr>
        <p:spPr bwMode="gray">
          <a:xfrm>
            <a:off x="334964" y="1124759"/>
            <a:ext cx="7561233" cy="288116"/>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pPr lvl="0"/>
            <a:r>
              <a:rPr lang="en-GB" dirty="0"/>
              <a:t>Optional Subheading in one line.</a:t>
            </a:r>
          </a:p>
        </p:txBody>
      </p:sp>
      <p:grpSp>
        <p:nvGrpSpPr>
          <p:cNvPr id="6" name="Gruppieren 5">
            <a:extLst>
              <a:ext uri="{FF2B5EF4-FFF2-40B4-BE49-F238E27FC236}">
                <a16:creationId xmlns:a16="http://schemas.microsoft.com/office/drawing/2014/main" id="{ECDB737C-A8BC-4B29-86E4-F0D14B4409D3}"/>
              </a:ext>
            </a:extLst>
          </p:cNvPr>
          <p:cNvGrpSpPr/>
          <p:nvPr userDrawn="1"/>
        </p:nvGrpSpPr>
        <p:grpSpPr bwMode="gray">
          <a:xfrm>
            <a:off x="-168688" y="1700808"/>
            <a:ext cx="72000" cy="4824536"/>
            <a:chOff x="-456728" y="1700808"/>
            <a:chExt cx="216000" cy="4824536"/>
          </a:xfrm>
        </p:grpSpPr>
        <p:cxnSp>
          <p:nvCxnSpPr>
            <p:cNvPr id="8" name="Gerader Verbinder 7">
              <a:extLst>
                <a:ext uri="{FF2B5EF4-FFF2-40B4-BE49-F238E27FC236}">
                  <a16:creationId xmlns:a16="http://schemas.microsoft.com/office/drawing/2014/main" id="{1DD22856-99FB-49B2-8834-2987868AC9BF}"/>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0EBE7FD3-FDF1-404B-8C87-8731C56061DD}"/>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0" name="Gerader Verbinder 9">
            <a:extLst>
              <a:ext uri="{FF2B5EF4-FFF2-40B4-BE49-F238E27FC236}">
                <a16:creationId xmlns:a16="http://schemas.microsoft.com/office/drawing/2014/main" id="{9982362E-5B89-4669-98CE-660C38A480B9}"/>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725622A3-24B0-47C8-B384-417CE8F7E3DA}"/>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D4D1CAD-FF1E-49D8-94CB-4E91B0F352F5}"/>
              </a:ext>
            </a:extLst>
          </p:cNvPr>
          <p:cNvSpPr txBox="1"/>
          <p:nvPr userDrawn="1"/>
        </p:nvSpPr>
        <p:spPr bwMode="gray">
          <a:xfrm>
            <a:off x="-1427636" y="188640"/>
            <a:ext cx="1227414" cy="246221"/>
          </a:xfrm>
          <a:prstGeom prst="rect">
            <a:avLst/>
          </a:prstGeom>
          <a:noFill/>
        </p:spPr>
        <p:txBody>
          <a:bodyPr wrap="square">
            <a:spAutoFit/>
          </a:bodyPr>
          <a:lstStyle/>
          <a:p>
            <a:pPr algn="r"/>
            <a:r>
              <a:rPr lang="en-GB" sz="1000" dirty="0"/>
              <a:t>Headline</a:t>
            </a:r>
          </a:p>
        </p:txBody>
      </p:sp>
      <p:sp>
        <p:nvSpPr>
          <p:cNvPr id="13" name="Textfeld 12">
            <a:extLst>
              <a:ext uri="{FF2B5EF4-FFF2-40B4-BE49-F238E27FC236}">
                <a16:creationId xmlns:a16="http://schemas.microsoft.com/office/drawing/2014/main" id="{1883A1A5-F887-4C8E-A8D9-8A3D7F703C23}"/>
              </a:ext>
            </a:extLst>
          </p:cNvPr>
          <p:cNvSpPr txBox="1"/>
          <p:nvPr userDrawn="1"/>
        </p:nvSpPr>
        <p:spPr bwMode="gray">
          <a:xfrm>
            <a:off x="-1427636" y="980728"/>
            <a:ext cx="1227414" cy="246221"/>
          </a:xfrm>
          <a:prstGeom prst="rect">
            <a:avLst/>
          </a:prstGeom>
          <a:noFill/>
        </p:spPr>
        <p:txBody>
          <a:bodyPr wrap="square">
            <a:spAutoFit/>
          </a:bodyPr>
          <a:lstStyle/>
          <a:p>
            <a:pPr algn="r"/>
            <a:r>
              <a:rPr lang="en-GB" sz="1000" dirty="0"/>
              <a:t>Subline</a:t>
            </a:r>
          </a:p>
        </p:txBody>
      </p:sp>
      <p:sp>
        <p:nvSpPr>
          <p:cNvPr id="14" name="Textfeld 13">
            <a:extLst>
              <a:ext uri="{FF2B5EF4-FFF2-40B4-BE49-F238E27FC236}">
                <a16:creationId xmlns:a16="http://schemas.microsoft.com/office/drawing/2014/main" id="{47D3987A-AE65-4A21-92A6-1304924C947F}"/>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dirty="0"/>
              <a:t>Content</a:t>
            </a:r>
          </a:p>
        </p:txBody>
      </p:sp>
      <p:sp>
        <p:nvSpPr>
          <p:cNvPr id="22" name="Bildplatzhalter 19">
            <a:extLst>
              <a:ext uri="{FF2B5EF4-FFF2-40B4-BE49-F238E27FC236}">
                <a16:creationId xmlns:a16="http://schemas.microsoft.com/office/drawing/2014/main" id="{603B77B3-340E-4B8E-A9F8-7A13174F7D5E}"/>
              </a:ext>
            </a:extLst>
          </p:cNvPr>
          <p:cNvSpPr>
            <a:spLocks noGrp="1"/>
          </p:cNvSpPr>
          <p:nvPr>
            <p:ph type="pic" sz="quarter" idx="10" hasCustomPrompt="1"/>
          </p:nvPr>
        </p:nvSpPr>
        <p:spPr bwMode="gray">
          <a:xfrm>
            <a:off x="334963" y="1700213"/>
            <a:ext cx="3456782" cy="2160835"/>
          </a:xfrm>
          <a:custGeom>
            <a:avLst/>
            <a:gdLst>
              <a:gd name="connsiteX0" fmla="*/ 0 w 6312024"/>
              <a:gd name="connsiteY0" fmla="*/ 0 h 6858000"/>
              <a:gd name="connsiteX1" fmla="*/ 6312024 w 6312024"/>
              <a:gd name="connsiteY1" fmla="*/ 0 h 6858000"/>
              <a:gd name="connsiteX2" fmla="*/ 6312024 w 6312024"/>
              <a:gd name="connsiteY2" fmla="*/ 6858000 h 6858000"/>
              <a:gd name="connsiteX3" fmla="*/ 0 w 631202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12024" h="6858000">
                <a:moveTo>
                  <a:pt x="0" y="0"/>
                </a:moveTo>
                <a:lnTo>
                  <a:pt x="6312024" y="0"/>
                </a:lnTo>
                <a:lnTo>
                  <a:pt x="6312024" y="6858000"/>
                </a:lnTo>
                <a:lnTo>
                  <a:pt x="0" y="6858000"/>
                </a:lnTo>
                <a:close/>
              </a:path>
            </a:pathLst>
          </a:custGeom>
          <a:solidFill>
            <a:schemeClr val="bg1">
              <a:lumMod val="85000"/>
            </a:schemeClr>
          </a:solidFill>
        </p:spPr>
        <p:txBody>
          <a:bodyPr wrap="square" lIns="144000" tIns="144000" rIns="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dirty="0"/>
              <a:t>Image Placeholder</a:t>
            </a:r>
          </a:p>
        </p:txBody>
      </p:sp>
      <p:sp>
        <p:nvSpPr>
          <p:cNvPr id="23" name="Bildplatzhalter 19">
            <a:extLst>
              <a:ext uri="{FF2B5EF4-FFF2-40B4-BE49-F238E27FC236}">
                <a16:creationId xmlns:a16="http://schemas.microsoft.com/office/drawing/2014/main" id="{B88C7D1A-CAED-4739-91ED-4804D275F5EA}"/>
              </a:ext>
            </a:extLst>
          </p:cNvPr>
          <p:cNvSpPr>
            <a:spLocks noGrp="1"/>
          </p:cNvSpPr>
          <p:nvPr>
            <p:ph type="pic" sz="quarter" idx="15" hasCustomPrompt="1"/>
          </p:nvPr>
        </p:nvSpPr>
        <p:spPr bwMode="gray">
          <a:xfrm>
            <a:off x="8400256" y="1700213"/>
            <a:ext cx="3466275" cy="2160835"/>
          </a:xfrm>
          <a:custGeom>
            <a:avLst/>
            <a:gdLst>
              <a:gd name="connsiteX0" fmla="*/ 0 w 6312024"/>
              <a:gd name="connsiteY0" fmla="*/ 0 h 6858000"/>
              <a:gd name="connsiteX1" fmla="*/ 6312024 w 6312024"/>
              <a:gd name="connsiteY1" fmla="*/ 0 h 6858000"/>
              <a:gd name="connsiteX2" fmla="*/ 6312024 w 6312024"/>
              <a:gd name="connsiteY2" fmla="*/ 6858000 h 6858000"/>
              <a:gd name="connsiteX3" fmla="*/ 0 w 631202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12024" h="6858000">
                <a:moveTo>
                  <a:pt x="0" y="0"/>
                </a:moveTo>
                <a:lnTo>
                  <a:pt x="6312024" y="0"/>
                </a:lnTo>
                <a:lnTo>
                  <a:pt x="6312024" y="6858000"/>
                </a:lnTo>
                <a:lnTo>
                  <a:pt x="0" y="6858000"/>
                </a:lnTo>
                <a:close/>
              </a:path>
            </a:pathLst>
          </a:custGeom>
          <a:solidFill>
            <a:schemeClr val="bg1">
              <a:lumMod val="85000"/>
            </a:schemeClr>
          </a:solidFill>
        </p:spPr>
        <p:txBody>
          <a:bodyPr wrap="square" lIns="144000" tIns="144000" rIns="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dirty="0"/>
              <a:t>Image Placeholder</a:t>
            </a:r>
          </a:p>
        </p:txBody>
      </p:sp>
      <p:sp>
        <p:nvSpPr>
          <p:cNvPr id="24" name="Bildplatzhalter 19">
            <a:extLst>
              <a:ext uri="{FF2B5EF4-FFF2-40B4-BE49-F238E27FC236}">
                <a16:creationId xmlns:a16="http://schemas.microsoft.com/office/drawing/2014/main" id="{5B0440AF-4E89-4406-AB34-FBCC5176AF31}"/>
              </a:ext>
            </a:extLst>
          </p:cNvPr>
          <p:cNvSpPr>
            <a:spLocks noGrp="1"/>
          </p:cNvSpPr>
          <p:nvPr>
            <p:ph type="pic" sz="quarter" idx="16" hasCustomPrompt="1"/>
          </p:nvPr>
        </p:nvSpPr>
        <p:spPr bwMode="gray">
          <a:xfrm>
            <a:off x="4367808" y="1700213"/>
            <a:ext cx="3466275" cy="2160835"/>
          </a:xfrm>
          <a:custGeom>
            <a:avLst/>
            <a:gdLst>
              <a:gd name="connsiteX0" fmla="*/ 0 w 6312024"/>
              <a:gd name="connsiteY0" fmla="*/ 0 h 6858000"/>
              <a:gd name="connsiteX1" fmla="*/ 6312024 w 6312024"/>
              <a:gd name="connsiteY1" fmla="*/ 0 h 6858000"/>
              <a:gd name="connsiteX2" fmla="*/ 6312024 w 6312024"/>
              <a:gd name="connsiteY2" fmla="*/ 6858000 h 6858000"/>
              <a:gd name="connsiteX3" fmla="*/ 0 w 631202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12024" h="6858000">
                <a:moveTo>
                  <a:pt x="0" y="0"/>
                </a:moveTo>
                <a:lnTo>
                  <a:pt x="6312024" y="0"/>
                </a:lnTo>
                <a:lnTo>
                  <a:pt x="6312024" y="6858000"/>
                </a:lnTo>
                <a:lnTo>
                  <a:pt x="0" y="6858000"/>
                </a:lnTo>
                <a:close/>
              </a:path>
            </a:pathLst>
          </a:custGeom>
          <a:solidFill>
            <a:schemeClr val="bg1">
              <a:lumMod val="85000"/>
            </a:schemeClr>
          </a:solidFill>
        </p:spPr>
        <p:txBody>
          <a:bodyPr wrap="square" lIns="144000" tIns="144000" rIns="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dirty="0"/>
              <a:t>Image Placeholder</a:t>
            </a:r>
          </a:p>
        </p:txBody>
      </p:sp>
    </p:spTree>
    <p:extLst>
      <p:ext uri="{BB962C8B-B14F-4D97-AF65-F5344CB8AC3E}">
        <p14:creationId xmlns:p14="http://schemas.microsoft.com/office/powerpoint/2010/main" val="2353191032"/>
      </p:ext>
    </p:extLst>
  </p:cSld>
  <p:clrMapOvr>
    <a:masterClrMapping/>
  </p:clrMapOvr>
  <p:extLst>
    <p:ext uri="{DCECCB84-F9BA-43D5-87BE-67443E8EF086}">
      <p15:sldGuideLst xmlns:p15="http://schemas.microsoft.com/office/powerpoint/2012/main">
        <p15:guide id="1" orient="horz" pos="1071">
          <p15:clr>
            <a:srgbClr val="5ACBF0"/>
          </p15:clr>
        </p15:guide>
        <p15:guide id="2" orient="horz" pos="709">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I Picture">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4948A7E9-ECA1-4C90-82A6-089FD5EB8E0A}"/>
              </a:ext>
            </a:extLst>
          </p:cNvPr>
          <p:cNvSpPr>
            <a:spLocks noGrp="1"/>
          </p:cNvSpPr>
          <p:nvPr>
            <p:ph type="pic" sz="quarter" idx="10" hasCustomPrompt="1"/>
          </p:nvPr>
        </p:nvSpPr>
        <p:spPr bwMode="gray">
          <a:xfrm>
            <a:off x="0" y="-1"/>
            <a:ext cx="12190550" cy="4140660"/>
          </a:xfrm>
          <a:custGeom>
            <a:avLst/>
            <a:gdLst>
              <a:gd name="connsiteX0" fmla="*/ 0 w 12190550"/>
              <a:gd name="connsiteY0" fmla="*/ 0 h 4140660"/>
              <a:gd name="connsiteX1" fmla="*/ 6728768 w 12190550"/>
              <a:gd name="connsiteY1" fmla="*/ 0 h 4140660"/>
              <a:gd name="connsiteX2" fmla="*/ 12190550 w 12190550"/>
              <a:gd name="connsiteY2" fmla="*/ 1059922 h 4140660"/>
              <a:gd name="connsiteX3" fmla="*/ 12190550 w 12190550"/>
              <a:gd name="connsiteY3" fmla="*/ 2209619 h 4140660"/>
              <a:gd name="connsiteX4" fmla="*/ 3566 w 12190550"/>
              <a:gd name="connsiteY4" fmla="*/ 4140660 h 4140660"/>
              <a:gd name="connsiteX5" fmla="*/ 0 w 12190550"/>
              <a:gd name="connsiteY5" fmla="*/ 4140660 h 4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0550" h="4140660">
                <a:moveTo>
                  <a:pt x="0" y="0"/>
                </a:moveTo>
                <a:lnTo>
                  <a:pt x="6728768" y="0"/>
                </a:lnTo>
                <a:lnTo>
                  <a:pt x="12190550" y="1059922"/>
                </a:lnTo>
                <a:lnTo>
                  <a:pt x="12190550" y="2209619"/>
                </a:lnTo>
                <a:lnTo>
                  <a:pt x="3566" y="4140660"/>
                </a:lnTo>
                <a:lnTo>
                  <a:pt x="0" y="4140660"/>
                </a:lnTo>
                <a:close/>
              </a:path>
            </a:pathLst>
          </a:custGeom>
          <a:solidFill>
            <a:schemeClr val="bg1">
              <a:lumMod val="85000"/>
            </a:schemeClr>
          </a:solidFill>
        </p:spPr>
        <p:txBody>
          <a:bodyPr wrap="square" lIns="144000" tIns="144000">
            <a:noAutofit/>
          </a:bodyPr>
          <a:lstStyle>
            <a:lvl1pPr>
              <a:spcBef>
                <a:spcPts val="0"/>
              </a:spcBef>
              <a:defRPr sz="800" b="0" i="0">
                <a:solidFill>
                  <a:schemeClr val="tx1"/>
                </a:solidFill>
                <a:latin typeface="+mn-lt"/>
              </a:defRPr>
            </a:lvl1pPr>
            <a:lvl2pPr>
              <a:spcBef>
                <a:spcPts val="0"/>
              </a:spcBef>
              <a:spcAft>
                <a:spcPts val="0"/>
              </a:spcAft>
              <a:defRPr sz="800" b="0" i="0">
                <a:solidFill>
                  <a:schemeClr val="tx1"/>
                </a:solidFill>
                <a:latin typeface="+mn-lt"/>
              </a:defRPr>
            </a:lvl2pPr>
            <a:lvl3pPr marL="0" indent="0">
              <a:spcBef>
                <a:spcPts val="0"/>
              </a:spcBef>
              <a:spcAft>
                <a:spcPts val="0"/>
              </a:spcAft>
              <a:buFontTx/>
              <a:buNone/>
              <a:defRPr sz="800" b="0" i="0">
                <a:solidFill>
                  <a:schemeClr val="tx1"/>
                </a:solidFill>
                <a:latin typeface="+mn-lt"/>
              </a:defRPr>
            </a:lvl3pPr>
            <a:lvl4pPr marL="0" indent="0">
              <a:lnSpc>
                <a:spcPct val="110000"/>
              </a:lnSpc>
              <a:spcBef>
                <a:spcPts val="0"/>
              </a:spcBef>
              <a:spcAft>
                <a:spcPts val="0"/>
              </a:spcAft>
              <a:buFontTx/>
              <a:buNone/>
              <a:defRPr sz="800" b="0" i="0">
                <a:solidFill>
                  <a:schemeClr val="tx1"/>
                </a:solidFill>
                <a:latin typeface="+mn-lt"/>
              </a:defRPr>
            </a:lvl4pPr>
            <a:lvl5pPr marL="0" indent="0">
              <a:lnSpc>
                <a:spcPct val="110000"/>
              </a:lnSpc>
              <a:spcBef>
                <a:spcPts val="0"/>
              </a:spcBef>
              <a:spcAft>
                <a:spcPts val="0"/>
              </a:spcAft>
              <a:buFontTx/>
              <a:buNone/>
              <a:defRPr sz="800" b="0" i="0">
                <a:solidFill>
                  <a:schemeClr val="tx1"/>
                </a:solidFill>
                <a:latin typeface="+mn-lt"/>
              </a:defRPr>
            </a:lvl5pPr>
            <a:lvl6pPr marL="0" indent="0">
              <a:lnSpc>
                <a:spcPct val="110000"/>
              </a:lnSpc>
              <a:spcBef>
                <a:spcPts val="0"/>
              </a:spcBef>
              <a:spcAft>
                <a:spcPts val="0"/>
              </a:spcAft>
              <a:buFontTx/>
              <a:buNone/>
              <a:defRPr sz="800" b="0" i="0">
                <a:solidFill>
                  <a:schemeClr val="tx1"/>
                </a:solidFill>
                <a:latin typeface="+mn-lt"/>
              </a:defRPr>
            </a:lvl6pPr>
            <a:lvl7pPr marL="0" indent="0">
              <a:lnSpc>
                <a:spcPct val="110000"/>
              </a:lnSpc>
              <a:spcBef>
                <a:spcPts val="0"/>
              </a:spcBef>
              <a:spcAft>
                <a:spcPts val="0"/>
              </a:spcAft>
              <a:buFontTx/>
              <a:buNone/>
              <a:defRPr sz="800" b="0" i="0">
                <a:solidFill>
                  <a:schemeClr val="tx1"/>
                </a:solidFill>
                <a:latin typeface="+mn-lt"/>
              </a:defRPr>
            </a:lvl7pPr>
            <a:lvl8pPr marL="0" indent="0">
              <a:lnSpc>
                <a:spcPct val="110000"/>
              </a:lnSpc>
              <a:spcBef>
                <a:spcPts val="0"/>
              </a:spcBef>
              <a:spcAft>
                <a:spcPts val="0"/>
              </a:spcAft>
              <a:buFontTx/>
              <a:buNone/>
              <a:defRPr sz="800" b="0" i="0">
                <a:solidFill>
                  <a:schemeClr val="tx1"/>
                </a:solidFill>
                <a:latin typeface="+mn-lt"/>
              </a:defRPr>
            </a:lvl8pPr>
            <a:lvl9pPr marL="0" indent="0">
              <a:lnSpc>
                <a:spcPct val="110000"/>
              </a:lnSpc>
              <a:spcBef>
                <a:spcPts val="0"/>
              </a:spcBef>
              <a:spcAft>
                <a:spcPts val="0"/>
              </a:spcAft>
              <a:buFontTx/>
              <a:buNone/>
              <a:defRPr sz="800" b="0" i="0">
                <a:solidFill>
                  <a:schemeClr val="tx1"/>
                </a:solidFill>
                <a:latin typeface="+mn-lt"/>
              </a:defRPr>
            </a:lvl9pPr>
          </a:lstStyle>
          <a:p>
            <a:r>
              <a:rPr lang="en-GB"/>
              <a:t>Image Placeholder</a:t>
            </a:r>
          </a:p>
        </p:txBody>
      </p:sp>
      <p:sp>
        <p:nvSpPr>
          <p:cNvPr id="14" name="Textplatzhalter 45">
            <a:extLst>
              <a:ext uri="{FF2B5EF4-FFF2-40B4-BE49-F238E27FC236}">
                <a16:creationId xmlns:a16="http://schemas.microsoft.com/office/drawing/2014/main" id="{9710D01C-B0B9-42CF-BD43-6FB2626E320D}"/>
              </a:ext>
            </a:extLst>
          </p:cNvPr>
          <p:cNvSpPr>
            <a:spLocks noGrp="1"/>
          </p:cNvSpPr>
          <p:nvPr>
            <p:ph type="body" sz="quarter" idx="14" hasCustomPrompt="1"/>
          </p:nvPr>
        </p:nvSpPr>
        <p:spPr bwMode="gray">
          <a:xfrm>
            <a:off x="0" y="2474275"/>
            <a:ext cx="10530000" cy="2520000"/>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25" name="Rechteck 24">
            <a:extLst>
              <a:ext uri="{FF2B5EF4-FFF2-40B4-BE49-F238E27FC236}">
                <a16:creationId xmlns:a16="http://schemas.microsoft.com/office/drawing/2014/main" id="{EA9B2FC2-701F-4296-B196-BAA0C0C03521}"/>
              </a:ext>
            </a:extLst>
          </p:cNvPr>
          <p:cNvSpPr/>
          <p:nvPr userDrawn="1"/>
        </p:nvSpPr>
        <p:spPr bwMode="gray">
          <a:xfrm>
            <a:off x="9984432" y="-1"/>
            <a:ext cx="2207568" cy="83671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 name="Untertitel 2">
            <a:extLst>
              <a:ext uri="{FF2B5EF4-FFF2-40B4-BE49-F238E27FC236}">
                <a16:creationId xmlns:a16="http://schemas.microsoft.com/office/drawing/2014/main" id="{E4CD39E5-9CB3-4989-A3F5-D12593139FD4}"/>
              </a:ext>
            </a:extLst>
          </p:cNvPr>
          <p:cNvSpPr>
            <a:spLocks noGrp="1"/>
          </p:cNvSpPr>
          <p:nvPr>
            <p:ph type="subTitle" idx="1" hasCustomPrompt="1"/>
          </p:nvPr>
        </p:nvSpPr>
        <p:spPr bwMode="gray">
          <a:xfrm>
            <a:off x="5951539" y="6309320"/>
            <a:ext cx="5905500" cy="215305"/>
          </a:xfrm>
        </p:spPr>
        <p:txBody>
          <a:bodyPr/>
          <a:lstStyle>
            <a:lvl1pPr marL="0" indent="0" algn="l">
              <a:lnSpc>
                <a:spcPct val="100000"/>
              </a:lnSpc>
              <a:spcBef>
                <a:spcPts val="0"/>
              </a:spcBef>
              <a:spcAft>
                <a:spcPts val="0"/>
              </a:spcAft>
              <a:buFont typeface="Arial" panose="020B0604020202020204" pitchFamily="34" charset="0"/>
              <a:buNone/>
              <a:defRPr sz="1400" b="0" i="0">
                <a:latin typeface="+mn-lt"/>
              </a:defRPr>
            </a:lvl1pPr>
            <a:lvl2pPr marL="0" indent="0" algn="l">
              <a:lnSpc>
                <a:spcPct val="100000"/>
              </a:lnSpc>
              <a:spcBef>
                <a:spcPts val="0"/>
              </a:spcBef>
              <a:spcAft>
                <a:spcPts val="0"/>
              </a:spcAft>
              <a:buFont typeface="Arial" panose="020B0604020202020204" pitchFamily="34" charset="0"/>
              <a:buNone/>
              <a:defRPr sz="1400" b="0" i="0">
                <a:latin typeface="+mn-lt"/>
              </a:defRPr>
            </a:lvl2pPr>
            <a:lvl3pPr marL="0" indent="0" algn="l">
              <a:lnSpc>
                <a:spcPct val="100000"/>
              </a:lnSpc>
              <a:spcBef>
                <a:spcPts val="0"/>
              </a:spcBef>
              <a:spcAft>
                <a:spcPts val="0"/>
              </a:spcAft>
              <a:buFont typeface="Arial" panose="020B0604020202020204" pitchFamily="34" charset="0"/>
              <a:buNone/>
              <a:defRPr sz="1400" b="0" i="0">
                <a:latin typeface="+mn-lt"/>
              </a:defRPr>
            </a:lvl3pPr>
            <a:lvl4pPr marL="0" indent="0" algn="l">
              <a:lnSpc>
                <a:spcPct val="100000"/>
              </a:lnSpc>
              <a:spcBef>
                <a:spcPts val="0"/>
              </a:spcBef>
              <a:spcAft>
                <a:spcPts val="0"/>
              </a:spcAft>
              <a:buFont typeface="Arial" panose="020B0604020202020204" pitchFamily="34" charset="0"/>
              <a:buNone/>
              <a:defRPr sz="1400" b="0" i="0">
                <a:latin typeface="+mn-lt"/>
              </a:defRPr>
            </a:lvl4pPr>
            <a:lvl5pPr marL="0" indent="0" algn="l">
              <a:lnSpc>
                <a:spcPct val="100000"/>
              </a:lnSpc>
              <a:spcBef>
                <a:spcPts val="0"/>
              </a:spcBef>
              <a:spcAft>
                <a:spcPts val="0"/>
              </a:spcAft>
              <a:buFont typeface="Arial" panose="020B0604020202020204" pitchFamily="34" charset="0"/>
              <a:buNone/>
              <a:defRPr sz="1400" b="0" i="0">
                <a:latin typeface="+mn-lt"/>
              </a:defRPr>
            </a:lvl5pPr>
            <a:lvl6pPr marL="0" indent="0" algn="l">
              <a:lnSpc>
                <a:spcPct val="100000"/>
              </a:lnSpc>
              <a:spcBef>
                <a:spcPts val="0"/>
              </a:spcBef>
              <a:spcAft>
                <a:spcPts val="0"/>
              </a:spcAft>
              <a:buFont typeface="Arial" panose="020B0604020202020204" pitchFamily="34" charset="0"/>
              <a:buNone/>
              <a:defRPr sz="1400" b="0" i="0">
                <a:latin typeface="+mn-lt"/>
              </a:defRPr>
            </a:lvl6pPr>
            <a:lvl7pPr marL="0" indent="0" algn="l">
              <a:lnSpc>
                <a:spcPct val="100000"/>
              </a:lnSpc>
              <a:spcBef>
                <a:spcPts val="0"/>
              </a:spcBef>
              <a:spcAft>
                <a:spcPts val="0"/>
              </a:spcAft>
              <a:buFont typeface="Arial" panose="020B0604020202020204" pitchFamily="34" charset="0"/>
              <a:buNone/>
              <a:defRPr sz="1400" b="0" i="0">
                <a:latin typeface="+mn-lt"/>
              </a:defRPr>
            </a:lvl7pPr>
            <a:lvl8pPr marL="0" indent="0" algn="l">
              <a:lnSpc>
                <a:spcPct val="100000"/>
              </a:lnSpc>
              <a:spcBef>
                <a:spcPts val="0"/>
              </a:spcBef>
              <a:spcAft>
                <a:spcPts val="0"/>
              </a:spcAft>
              <a:buFont typeface="Arial" panose="020B0604020202020204" pitchFamily="34" charset="0"/>
              <a:buNone/>
              <a:defRPr sz="1400" b="0" i="0">
                <a:latin typeface="+mn-lt"/>
              </a:defRPr>
            </a:lvl8pPr>
            <a:lvl9pPr marL="0" indent="0" algn="l">
              <a:lnSpc>
                <a:spcPct val="100000"/>
              </a:lnSpc>
              <a:spcBef>
                <a:spcPts val="0"/>
              </a:spcBef>
              <a:spcAft>
                <a:spcPts val="0"/>
              </a:spcAft>
              <a:buFont typeface="Arial" panose="020B0604020202020204" pitchFamily="34" charset="0"/>
              <a:buNone/>
              <a:defRPr sz="1400" b="0" i="0">
                <a:latin typeface="+mn-lt"/>
              </a:defRPr>
            </a:lvl9pPr>
          </a:lstStyle>
          <a:p>
            <a:pPr lvl="1"/>
            <a:r>
              <a:rPr lang="en-GB"/>
              <a:t>Author | Date | Place</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11" name="Textplatzhalter 9">
            <a:extLst>
              <a:ext uri="{FF2B5EF4-FFF2-40B4-BE49-F238E27FC236}">
                <a16:creationId xmlns:a16="http://schemas.microsoft.com/office/drawing/2014/main" id="{07F5C723-774E-46D2-B6DD-62DA71968137}"/>
              </a:ext>
            </a:extLst>
          </p:cNvPr>
          <p:cNvSpPr>
            <a:spLocks noGrp="1"/>
          </p:cNvSpPr>
          <p:nvPr>
            <p:ph type="body" sz="quarter" idx="15" hasCustomPrompt="1"/>
          </p:nvPr>
        </p:nvSpPr>
        <p:spPr bwMode="gray">
          <a:xfrm>
            <a:off x="5951568" y="5589240"/>
            <a:ext cx="5905471" cy="485525"/>
          </a:xfrm>
        </p:spPr>
        <p:txBody>
          <a:bodyPr/>
          <a:lstStyle>
            <a:lvl1pPr marL="0" indent="0">
              <a:lnSpc>
                <a:spcPct val="100000"/>
              </a:lnSpc>
              <a:spcBef>
                <a:spcPts val="0"/>
              </a:spcBef>
              <a:spcAft>
                <a:spcPts val="0"/>
              </a:spcAft>
              <a:buFont typeface="Arial" panose="020B0604020202020204" pitchFamily="34" charset="0"/>
              <a:buNone/>
              <a:defRPr sz="18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r>
              <a:rPr lang="en-GB"/>
              <a:t>Optional Subheading in two lines.</a:t>
            </a:r>
          </a:p>
        </p:txBody>
      </p:sp>
      <p:pic>
        <p:nvPicPr>
          <p:cNvPr id="13" name="Grafik 12">
            <a:extLst>
              <a:ext uri="{FF2B5EF4-FFF2-40B4-BE49-F238E27FC236}">
                <a16:creationId xmlns:a16="http://schemas.microsoft.com/office/drawing/2014/main" id="{22C9B6E3-9F5B-4911-89FE-4C066506700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3359696" y="4196681"/>
            <a:ext cx="2592001" cy="864000"/>
          </a:xfrm>
          <a:prstGeom prst="rect">
            <a:avLst/>
          </a:prstGeom>
        </p:spPr>
      </p:pic>
      <p:sp>
        <p:nvSpPr>
          <p:cNvPr id="15" name="Textplatzhalter 45">
            <a:extLst>
              <a:ext uri="{FF2B5EF4-FFF2-40B4-BE49-F238E27FC236}">
                <a16:creationId xmlns:a16="http://schemas.microsoft.com/office/drawing/2014/main" id="{C972DC5F-4E8B-409B-9529-679DFDE1442E}"/>
              </a:ext>
            </a:extLst>
          </p:cNvPr>
          <p:cNvSpPr>
            <a:spLocks noGrp="1"/>
          </p:cNvSpPr>
          <p:nvPr>
            <p:ph type="body" sz="quarter" idx="13" hasCustomPrompt="1"/>
          </p:nvPr>
        </p:nvSpPr>
        <p:spPr bwMode="gray">
          <a:xfrm>
            <a:off x="5022950" y="-1"/>
            <a:ext cx="7167600" cy="1515600"/>
          </a:xfr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a:spcBef>
                <a:spcPts val="0"/>
              </a:spcBef>
              <a:defRPr sz="100">
                <a:solidFill>
                  <a:schemeClr val="bg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a:solidFill>
                  <a:schemeClr val="bg1"/>
                </a:solidFill>
                <a:latin typeface="+mn-lt"/>
              </a:defRPr>
            </a:lvl3pPr>
            <a:lvl4pPr marL="0" indent="0">
              <a:spcBef>
                <a:spcPts val="0"/>
              </a:spcBef>
              <a:spcAft>
                <a:spcPts val="0"/>
              </a:spcAft>
              <a:buFontTx/>
              <a:buNone/>
              <a:defRPr sz="100">
                <a:solidFill>
                  <a:schemeClr val="bg1"/>
                </a:solidFill>
                <a:latin typeface="+mn-lt"/>
              </a:defRPr>
            </a:lvl4pPr>
            <a:lvl5pPr marL="0" indent="0">
              <a:spcBef>
                <a:spcPts val="0"/>
              </a:spcBef>
              <a:spcAft>
                <a:spcPts val="0"/>
              </a:spcAft>
              <a:buFontTx/>
              <a:buNone/>
              <a:defRPr sz="100">
                <a:solidFill>
                  <a:schemeClr val="bg1"/>
                </a:solidFill>
                <a:latin typeface="+mn-lt"/>
              </a:defRPr>
            </a:lvl5pPr>
            <a:lvl6pPr marL="0" indent="0">
              <a:spcBef>
                <a:spcPts val="0"/>
              </a:spcBef>
              <a:spcAft>
                <a:spcPts val="0"/>
              </a:spcAft>
              <a:buFontTx/>
              <a:buNone/>
              <a:defRPr sz="100">
                <a:solidFill>
                  <a:schemeClr val="bg1"/>
                </a:solidFill>
                <a:latin typeface="+mn-lt"/>
              </a:defRPr>
            </a:lvl6pPr>
            <a:lvl7pPr marL="0" indent="0">
              <a:spcBef>
                <a:spcPts val="0"/>
              </a:spcBef>
              <a:spcAft>
                <a:spcPts val="0"/>
              </a:spcAft>
              <a:buFontTx/>
              <a:buNone/>
              <a:defRPr sz="100">
                <a:solidFill>
                  <a:schemeClr val="bg1"/>
                </a:solidFill>
                <a:latin typeface="+mn-lt"/>
              </a:defRPr>
            </a:lvl7pPr>
            <a:lvl8pPr marL="0" indent="0">
              <a:spcBef>
                <a:spcPts val="0"/>
              </a:spcBef>
              <a:spcAft>
                <a:spcPts val="0"/>
              </a:spcAft>
              <a:buFontTx/>
              <a:buNone/>
              <a:defRPr sz="100">
                <a:solidFill>
                  <a:schemeClr val="bg1"/>
                </a:solidFill>
                <a:latin typeface="+mn-lt"/>
              </a:defRPr>
            </a:lvl8pPr>
            <a:lvl9pPr marL="0" indent="0">
              <a:spcBef>
                <a:spcPts val="0"/>
              </a:spcBef>
              <a:spcAft>
                <a:spcPts val="0"/>
              </a:spcAft>
              <a:buFontTx/>
              <a:buNone/>
              <a:defRPr sz="100">
                <a:solidFill>
                  <a:schemeClr val="bg1"/>
                </a:solidFill>
                <a:latin typeface="+mn-lt"/>
              </a:defRPr>
            </a:lvl9pPr>
          </a:lstStyle>
          <a:p>
            <a:r>
              <a:rPr lang="de-AT"/>
              <a:t> </a:t>
            </a:r>
          </a:p>
        </p:txBody>
      </p:sp>
      <p:sp>
        <p:nvSpPr>
          <p:cNvPr id="12" name="Titel 1">
            <a:extLst>
              <a:ext uri="{FF2B5EF4-FFF2-40B4-BE49-F238E27FC236}">
                <a16:creationId xmlns:a16="http://schemas.microsoft.com/office/drawing/2014/main" id="{ED52ECEF-B84F-4F45-A798-13772E8C3130}"/>
              </a:ext>
            </a:extLst>
          </p:cNvPr>
          <p:cNvSpPr>
            <a:spLocks noGrp="1"/>
          </p:cNvSpPr>
          <p:nvPr>
            <p:ph type="ctrTitle" hasCustomPrompt="1"/>
          </p:nvPr>
        </p:nvSpPr>
        <p:spPr bwMode="gray">
          <a:xfrm>
            <a:off x="5951539" y="4430876"/>
            <a:ext cx="5905500" cy="944541"/>
          </a:xfrm>
        </p:spPr>
        <p:txBody>
          <a:bodyPr anchor="b"/>
          <a:lstStyle>
            <a:lvl1pPr algn="l">
              <a:defRPr sz="3200" b="1" i="0">
                <a:latin typeface="+mj-lt"/>
              </a:defRPr>
            </a:lvl1pPr>
          </a:lstStyle>
          <a:p>
            <a:r>
              <a:rPr lang="en-GB"/>
              <a:t>Heading </a:t>
            </a:r>
            <a:br>
              <a:rPr lang="en-GB"/>
            </a:br>
            <a:r>
              <a:rPr lang="en-GB"/>
              <a:t>in two lines. </a:t>
            </a:r>
          </a:p>
        </p:txBody>
      </p:sp>
    </p:spTree>
    <p:extLst>
      <p:ext uri="{BB962C8B-B14F-4D97-AF65-F5344CB8AC3E}">
        <p14:creationId xmlns:p14="http://schemas.microsoft.com/office/powerpoint/2010/main" val="789878208"/>
      </p:ext>
    </p:extLst>
  </p:cSld>
  <p:clrMapOvr>
    <a:masterClrMapping/>
  </p:clrMapOvr>
  <p:extLst>
    <p:ext uri="{DCECCB84-F9BA-43D5-87BE-67443E8EF086}">
      <p15:sldGuideLst xmlns:p15="http://schemas.microsoft.com/office/powerpoint/2012/main">
        <p15:guide id="1" pos="3749" userDrawn="1">
          <p15:clr>
            <a:srgbClr val="5ACBF0"/>
          </p15:clr>
        </p15:guide>
        <p15:guide id="2" orient="horz" pos="2795"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Grafik 2">
            <a:extLst>
              <a:ext uri="{FF2B5EF4-FFF2-40B4-BE49-F238E27FC236}">
                <a16:creationId xmlns:a16="http://schemas.microsoft.com/office/drawing/2014/main" id="{820D5E6F-00C9-41C8-B83F-94904507BACD}"/>
              </a:ext>
            </a:extLst>
          </p:cNvPr>
          <p:cNvSpPr/>
          <p:nvPr/>
        </p:nvSpPr>
        <p:spPr bwMode="gray">
          <a:xfrm>
            <a:off x="0" y="0"/>
            <a:ext cx="5403644" cy="4797152"/>
          </a:xfrm>
          <a:custGeom>
            <a:avLst/>
            <a:gdLst>
              <a:gd name="connsiteX0" fmla="*/ 3163253 w 3692998"/>
              <a:gd name="connsiteY0" fmla="*/ 415290 h 3278505"/>
              <a:gd name="connsiteX1" fmla="*/ 2335530 w 3692998"/>
              <a:gd name="connsiteY1" fmla="*/ 0 h 3278505"/>
              <a:gd name="connsiteX2" fmla="*/ 0 w 3692998"/>
              <a:gd name="connsiteY2" fmla="*/ 0 h 3278505"/>
              <a:gd name="connsiteX3" fmla="*/ 0 w 3692998"/>
              <a:gd name="connsiteY3" fmla="*/ 576263 h 3278505"/>
              <a:gd name="connsiteX4" fmla="*/ 1365885 w 3692998"/>
              <a:gd name="connsiteY4" fmla="*/ 1214438 h 3278505"/>
              <a:gd name="connsiteX5" fmla="*/ 0 w 3692998"/>
              <a:gd name="connsiteY5" fmla="*/ 1797368 h 3278505"/>
              <a:gd name="connsiteX6" fmla="*/ 0 w 3692998"/>
              <a:gd name="connsiteY6" fmla="*/ 3278505 h 3278505"/>
              <a:gd name="connsiteX7" fmla="*/ 2819400 w 3692998"/>
              <a:gd name="connsiteY7" fmla="*/ 2046923 h 3278505"/>
              <a:gd name="connsiteX8" fmla="*/ 3692843 w 3692998"/>
              <a:gd name="connsiteY8" fmla="*/ 1119188 h 3278505"/>
              <a:gd name="connsiteX9" fmla="*/ 3163253 w 3692998"/>
              <a:gd name="connsiteY9" fmla="*/ 415290 h 3278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2998" h="3278505">
                <a:moveTo>
                  <a:pt x="3163253" y="415290"/>
                </a:moveTo>
                <a:lnTo>
                  <a:pt x="2335530" y="0"/>
                </a:lnTo>
                <a:lnTo>
                  <a:pt x="0" y="0"/>
                </a:lnTo>
                <a:lnTo>
                  <a:pt x="0" y="576263"/>
                </a:lnTo>
                <a:lnTo>
                  <a:pt x="1365885" y="1214438"/>
                </a:lnTo>
                <a:lnTo>
                  <a:pt x="0" y="1797368"/>
                </a:lnTo>
                <a:lnTo>
                  <a:pt x="0" y="3278505"/>
                </a:lnTo>
                <a:lnTo>
                  <a:pt x="2819400" y="2046923"/>
                </a:lnTo>
                <a:cubicBezTo>
                  <a:pt x="3365183" y="1808798"/>
                  <a:pt x="3683318" y="1470660"/>
                  <a:pt x="3692843" y="1119188"/>
                </a:cubicBezTo>
                <a:cubicBezTo>
                  <a:pt x="3696653" y="957263"/>
                  <a:pt x="3633788" y="651510"/>
                  <a:pt x="3163253" y="415290"/>
                </a:cubicBezTo>
                <a:close/>
              </a:path>
            </a:pathLst>
          </a:custGeom>
          <a:solidFill>
            <a:srgbClr val="FFE84E"/>
          </a:solidFill>
          <a:ln w="9525" cap="flat">
            <a:noFill/>
            <a:prstDash val="solid"/>
            <a:miter/>
          </a:ln>
        </p:spPr>
        <p:txBody>
          <a:bodyPr rtlCol="0" anchor="ctr"/>
          <a:lstStyle/>
          <a:p>
            <a:endParaRPr lang="en-GB"/>
          </a:p>
        </p:txBody>
      </p:sp>
      <p:sp>
        <p:nvSpPr>
          <p:cNvPr id="4" name="Fußzeilenplatzhalter 3"/>
          <p:cNvSpPr>
            <a:spLocks noGrp="1"/>
          </p:cNvSpPr>
          <p:nvPr>
            <p:ph type="ftr" sz="quarter" idx="11"/>
          </p:nvPr>
        </p:nvSpPr>
        <p:spPr bwMode="gray"/>
        <p:txBody>
          <a:bodyPr/>
          <a:lstStyle/>
          <a:p>
            <a:r>
              <a:rPr lang="en-GB"/>
              <a:t>Green Gantry</a:t>
            </a:r>
            <a:endParaRPr lang="en-GB" i="1"/>
          </a:p>
        </p:txBody>
      </p:sp>
      <p:sp>
        <p:nvSpPr>
          <p:cNvPr id="5" name="Foliennummernplatzhalter 4"/>
          <p:cNvSpPr>
            <a:spLocks noGrp="1"/>
          </p:cNvSpPr>
          <p:nvPr>
            <p:ph type="sldNum" sz="quarter" idx="12"/>
          </p:nvPr>
        </p:nvSpPr>
        <p:spPr bwMode="gray"/>
        <p:txBody>
          <a:bodyPr/>
          <a:lstStyle/>
          <a:p>
            <a:fld id="{8FF9B0DE-3FEB-4AA0-B465-B80EF7C1333D}" type="slidenum">
              <a:rPr lang="en-GB" smtClean="0"/>
              <a:t>‹Nr.›</a:t>
            </a:fld>
            <a:endParaRPr lang="en-GB"/>
          </a:p>
        </p:txBody>
      </p:sp>
      <p:sp>
        <p:nvSpPr>
          <p:cNvPr id="2" name="Titel 1"/>
          <p:cNvSpPr>
            <a:spLocks noGrp="1"/>
          </p:cNvSpPr>
          <p:nvPr>
            <p:ph type="title" hasCustomPrompt="1"/>
          </p:nvPr>
        </p:nvSpPr>
        <p:spPr bwMode="gray">
          <a:xfrm>
            <a:off x="2352676" y="1124744"/>
            <a:ext cx="7488237" cy="647402"/>
          </a:xfrm>
        </p:spPr>
        <p:txBody>
          <a:bodyPr/>
          <a:lstStyle>
            <a:lvl1pPr>
              <a:defRPr sz="3200"/>
            </a:lvl1pPr>
          </a:lstStyle>
          <a:p>
            <a:r>
              <a:rPr lang="en-GB"/>
              <a:t>Agenda.</a:t>
            </a:r>
          </a:p>
        </p:txBody>
      </p:sp>
      <p:sp>
        <p:nvSpPr>
          <p:cNvPr id="10" name="Textplatzhalter 9">
            <a:extLst>
              <a:ext uri="{FF2B5EF4-FFF2-40B4-BE49-F238E27FC236}">
                <a16:creationId xmlns:a16="http://schemas.microsoft.com/office/drawing/2014/main" id="{BCCB2576-9DA9-4E65-8BBF-AAC80ED99B4D}"/>
              </a:ext>
            </a:extLst>
          </p:cNvPr>
          <p:cNvSpPr>
            <a:spLocks noGrp="1"/>
          </p:cNvSpPr>
          <p:nvPr>
            <p:ph type="body" sz="quarter" idx="17" hasCustomPrompt="1"/>
          </p:nvPr>
        </p:nvSpPr>
        <p:spPr bwMode="gray">
          <a:xfrm>
            <a:off x="2351087" y="2060575"/>
            <a:ext cx="3600897" cy="3815706"/>
          </a:xfrm>
        </p:spPr>
        <p:txBody>
          <a:bodyPr/>
          <a:lstStyle>
            <a:lvl1pPr marL="358775" indent="-358775">
              <a:spcBef>
                <a:spcPts val="2000"/>
              </a:spcBef>
              <a:spcAft>
                <a:spcPts val="200"/>
              </a:spcAft>
              <a:buSzPct val="100000"/>
              <a:buFont typeface="+mj-lt"/>
              <a:buAutoNum type="arabicPeriod"/>
              <a:defRPr sz="1400" b="1"/>
            </a:lvl1pPr>
            <a:lvl2pPr marL="720725" indent="-360363">
              <a:spcBef>
                <a:spcPts val="200"/>
              </a:spcBef>
              <a:spcAft>
                <a:spcPts val="200"/>
              </a:spcAft>
              <a:buClr>
                <a:schemeClr val="tx1"/>
              </a:buClr>
              <a:buFontTx/>
              <a:buNone/>
              <a:tabLst>
                <a:tab pos="803275" algn="l"/>
              </a:tabLst>
              <a:defRPr sz="1400" b="0" i="0"/>
            </a:lvl2pPr>
            <a:lvl3pPr marL="720725" indent="-360363">
              <a:spcBef>
                <a:spcPts val="200"/>
              </a:spcBef>
              <a:spcAft>
                <a:spcPts val="200"/>
              </a:spcAft>
              <a:buClr>
                <a:schemeClr val="tx1"/>
              </a:buClr>
              <a:buFontTx/>
              <a:buNone/>
              <a:tabLst>
                <a:tab pos="803275" algn="l"/>
              </a:tabLst>
              <a:defRPr sz="1400"/>
            </a:lvl3pPr>
            <a:lvl4pPr marL="720725" indent="-360363">
              <a:spcBef>
                <a:spcPts val="200"/>
              </a:spcBef>
              <a:spcAft>
                <a:spcPts val="200"/>
              </a:spcAft>
              <a:buClr>
                <a:schemeClr val="tx1"/>
              </a:buClr>
              <a:buFontTx/>
              <a:buNone/>
              <a:tabLst>
                <a:tab pos="803275" algn="l"/>
              </a:tabLst>
              <a:defRPr sz="1400"/>
            </a:lvl4pPr>
            <a:lvl5pPr marL="720725" indent="-360363">
              <a:spcBef>
                <a:spcPts val="200"/>
              </a:spcBef>
              <a:spcAft>
                <a:spcPts val="200"/>
              </a:spcAft>
              <a:buClr>
                <a:schemeClr val="tx1"/>
              </a:buClr>
              <a:buFontTx/>
              <a:buNone/>
              <a:tabLst>
                <a:tab pos="803275" algn="l"/>
              </a:tabLst>
              <a:defRPr sz="1400"/>
            </a:lvl5pPr>
            <a:lvl6pPr marL="720725" indent="-360363">
              <a:spcBef>
                <a:spcPts val="200"/>
              </a:spcBef>
              <a:spcAft>
                <a:spcPts val="200"/>
              </a:spcAft>
              <a:buClr>
                <a:schemeClr val="tx1"/>
              </a:buClr>
              <a:buFontTx/>
              <a:buNone/>
              <a:tabLst>
                <a:tab pos="803275" algn="l"/>
              </a:tabLst>
              <a:defRPr sz="1400"/>
            </a:lvl6pPr>
            <a:lvl7pPr marL="503238" indent="-142875">
              <a:spcBef>
                <a:spcPts val="200"/>
              </a:spcBef>
              <a:spcAft>
                <a:spcPts val="200"/>
              </a:spcAft>
              <a:buClr>
                <a:schemeClr val="tx1"/>
              </a:buClr>
              <a:buFontTx/>
              <a:buNone/>
              <a:tabLst>
                <a:tab pos="630238" algn="l"/>
              </a:tabLst>
              <a:defRPr sz="1400"/>
            </a:lvl7pPr>
            <a:lvl8pPr marL="720725" indent="-360363">
              <a:spcBef>
                <a:spcPts val="200"/>
              </a:spcBef>
              <a:spcAft>
                <a:spcPts val="200"/>
              </a:spcAft>
              <a:buClr>
                <a:schemeClr val="tx1"/>
              </a:buClr>
              <a:buFontTx/>
              <a:buNone/>
              <a:tabLst>
                <a:tab pos="803275" algn="l"/>
              </a:tabLst>
              <a:defRPr sz="1400"/>
            </a:lvl8pPr>
            <a:lvl9pPr marL="720725" indent="-360363">
              <a:spcBef>
                <a:spcPts val="200"/>
              </a:spcBef>
              <a:spcAft>
                <a:spcPts val="200"/>
              </a:spcAft>
              <a:buClr>
                <a:schemeClr val="tx1"/>
              </a:buClr>
              <a:buFontTx/>
              <a:buNone/>
              <a:tabLst>
                <a:tab pos="803275" algn="l"/>
              </a:tabLst>
              <a:defRPr sz="1400"/>
            </a:lvl9pPr>
          </a:lstStyle>
          <a:p>
            <a:pPr marL="358775" marR="0" lvl="0" indent="-358775" algn="l" defTabSz="914400" rtl="0" eaLnBrk="1" fontAlgn="auto" latinLnBrk="0" hangingPunct="1">
              <a:lnSpc>
                <a:spcPct val="110000"/>
              </a:lnSpc>
              <a:spcBef>
                <a:spcPts val="0"/>
              </a:spcBef>
              <a:spcAft>
                <a:spcPts val="200"/>
              </a:spcAft>
              <a:buClrTx/>
              <a:buSzPct val="100000"/>
              <a:buFont typeface="+mj-lt"/>
              <a:buAutoNum type="arabicPeriod"/>
              <a:tabLst/>
              <a:defRPr/>
            </a:pPr>
            <a:r>
              <a:rPr lang="en-US">
                <a:solidFill>
                  <a:srgbClr val="000000"/>
                </a:solidFill>
                <a:effectLst/>
              </a:rPr>
              <a:t>The chapter designation is provided with automatic lists. To create sub-chapters, </a:t>
            </a:r>
            <a:r>
              <a:rPr lang="en-GB">
                <a:solidFill>
                  <a:srgbClr val="000000"/>
                </a:solidFill>
                <a:effectLst/>
              </a:rPr>
              <a:t>u</a:t>
            </a:r>
            <a:r>
              <a:rPr lang="en-GB"/>
              <a:t>se the buttons “Increase List Level” and “Decrease List Level” </a:t>
            </a:r>
            <a:r>
              <a:rPr lang="en-US">
                <a:solidFill>
                  <a:srgbClr val="000000"/>
                </a:solidFill>
                <a:effectLst/>
              </a:rPr>
              <a:t> on the start menu tab. The buttons takes you to the next text level. The Subchapters must be listed manually with the following logic: 1.1, 1.2, 1.3 etc.</a:t>
            </a:r>
            <a:endParaRPr lang="en-GB"/>
          </a:p>
          <a:p>
            <a:pPr lvl="1"/>
            <a:r>
              <a:rPr lang="en-GB"/>
              <a:t>Subchapter</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12" name="Textplatzhalter 9">
            <a:extLst>
              <a:ext uri="{FF2B5EF4-FFF2-40B4-BE49-F238E27FC236}">
                <a16:creationId xmlns:a16="http://schemas.microsoft.com/office/drawing/2014/main" id="{58C45819-49BE-46CC-9224-BA66E6A2DA32}"/>
              </a:ext>
            </a:extLst>
          </p:cNvPr>
          <p:cNvSpPr>
            <a:spLocks noGrp="1"/>
          </p:cNvSpPr>
          <p:nvPr>
            <p:ph type="body" sz="quarter" idx="18" hasCustomPrompt="1"/>
          </p:nvPr>
        </p:nvSpPr>
        <p:spPr bwMode="gray">
          <a:xfrm>
            <a:off x="6240463" y="2060575"/>
            <a:ext cx="3600897" cy="3815706"/>
          </a:xfrm>
        </p:spPr>
        <p:txBody>
          <a:bodyPr/>
          <a:lstStyle>
            <a:lvl1pPr marL="358775" indent="-358775">
              <a:spcBef>
                <a:spcPts val="2000"/>
              </a:spcBef>
              <a:spcAft>
                <a:spcPts val="200"/>
              </a:spcAft>
              <a:buSzPct val="100000"/>
              <a:buFont typeface="+mj-lt"/>
              <a:buAutoNum type="arabicPeriod"/>
              <a:defRPr sz="1400" b="1"/>
            </a:lvl1pPr>
            <a:lvl2pPr marL="720725" indent="-360363">
              <a:spcBef>
                <a:spcPts val="200"/>
              </a:spcBef>
              <a:spcAft>
                <a:spcPts val="200"/>
              </a:spcAft>
              <a:buClr>
                <a:schemeClr val="tx1"/>
              </a:buClr>
              <a:buFontTx/>
              <a:buNone/>
              <a:tabLst>
                <a:tab pos="803275" algn="l"/>
              </a:tabLst>
              <a:defRPr sz="1400" b="0" i="0"/>
            </a:lvl2pPr>
            <a:lvl3pPr marL="720725" indent="-360363">
              <a:spcBef>
                <a:spcPts val="200"/>
              </a:spcBef>
              <a:spcAft>
                <a:spcPts val="200"/>
              </a:spcAft>
              <a:buClr>
                <a:schemeClr val="tx1"/>
              </a:buClr>
              <a:buFontTx/>
              <a:buNone/>
              <a:tabLst>
                <a:tab pos="803275" algn="l"/>
              </a:tabLst>
              <a:defRPr sz="1400"/>
            </a:lvl3pPr>
            <a:lvl4pPr marL="720725" indent="-360363">
              <a:spcBef>
                <a:spcPts val="200"/>
              </a:spcBef>
              <a:spcAft>
                <a:spcPts val="200"/>
              </a:spcAft>
              <a:buClr>
                <a:schemeClr val="tx1"/>
              </a:buClr>
              <a:buFontTx/>
              <a:buNone/>
              <a:tabLst>
                <a:tab pos="803275" algn="l"/>
              </a:tabLst>
              <a:defRPr sz="1400"/>
            </a:lvl4pPr>
            <a:lvl5pPr marL="720725" indent="-360363">
              <a:spcBef>
                <a:spcPts val="200"/>
              </a:spcBef>
              <a:spcAft>
                <a:spcPts val="200"/>
              </a:spcAft>
              <a:buClr>
                <a:schemeClr val="tx1"/>
              </a:buClr>
              <a:buFontTx/>
              <a:buNone/>
              <a:tabLst>
                <a:tab pos="803275" algn="l"/>
              </a:tabLst>
              <a:defRPr sz="1400"/>
            </a:lvl5pPr>
            <a:lvl6pPr marL="720725" indent="-360363">
              <a:spcBef>
                <a:spcPts val="200"/>
              </a:spcBef>
              <a:spcAft>
                <a:spcPts val="200"/>
              </a:spcAft>
              <a:buClr>
                <a:schemeClr val="tx1"/>
              </a:buClr>
              <a:buFontTx/>
              <a:buNone/>
              <a:tabLst>
                <a:tab pos="803275" algn="l"/>
              </a:tabLst>
              <a:defRPr sz="1400"/>
            </a:lvl6pPr>
            <a:lvl7pPr marL="503238" indent="-142875">
              <a:spcBef>
                <a:spcPts val="200"/>
              </a:spcBef>
              <a:spcAft>
                <a:spcPts val="200"/>
              </a:spcAft>
              <a:buClr>
                <a:schemeClr val="tx1"/>
              </a:buClr>
              <a:buFontTx/>
              <a:buNone/>
              <a:tabLst>
                <a:tab pos="630238" algn="l"/>
              </a:tabLst>
              <a:defRPr sz="1400"/>
            </a:lvl7pPr>
            <a:lvl8pPr marL="720725" indent="-360363">
              <a:spcBef>
                <a:spcPts val="200"/>
              </a:spcBef>
              <a:spcAft>
                <a:spcPts val="200"/>
              </a:spcAft>
              <a:buClr>
                <a:schemeClr val="tx1"/>
              </a:buClr>
              <a:buFontTx/>
              <a:buNone/>
              <a:tabLst>
                <a:tab pos="803275" algn="l"/>
              </a:tabLst>
              <a:defRPr sz="1400"/>
            </a:lvl8pPr>
            <a:lvl9pPr marL="720725" indent="-360363">
              <a:spcBef>
                <a:spcPts val="200"/>
              </a:spcBef>
              <a:spcAft>
                <a:spcPts val="200"/>
              </a:spcAft>
              <a:buClr>
                <a:schemeClr val="tx1"/>
              </a:buClr>
              <a:buFontTx/>
              <a:buNone/>
              <a:tabLst>
                <a:tab pos="803275" algn="l"/>
              </a:tabLst>
              <a:defRPr sz="1400"/>
            </a:lvl9pPr>
          </a:lstStyle>
          <a:p>
            <a:pPr marL="358775" marR="0" lvl="0" indent="-358775" algn="l" defTabSz="914400" rtl="0" eaLnBrk="1" fontAlgn="auto" latinLnBrk="0" hangingPunct="1">
              <a:lnSpc>
                <a:spcPct val="110000"/>
              </a:lnSpc>
              <a:spcBef>
                <a:spcPts val="0"/>
              </a:spcBef>
              <a:spcAft>
                <a:spcPts val="200"/>
              </a:spcAft>
              <a:buClrTx/>
              <a:buSzPct val="100000"/>
              <a:buFont typeface="+mj-lt"/>
              <a:buAutoNum type="arabicPeriod"/>
              <a:tabLst/>
              <a:defRPr/>
            </a:pPr>
            <a:r>
              <a:rPr lang="en-US">
                <a:solidFill>
                  <a:srgbClr val="000000"/>
                </a:solidFill>
                <a:effectLst/>
              </a:rPr>
              <a:t>Important: The chapter name on the right-hand side must be adjusted manually using the "Bullets and numbering" button in the "Start with" tab. To create Subchapters, </a:t>
            </a:r>
            <a:r>
              <a:rPr lang="en-GB">
                <a:solidFill>
                  <a:srgbClr val="000000"/>
                </a:solidFill>
                <a:effectLst/>
              </a:rPr>
              <a:t>u</a:t>
            </a:r>
            <a:r>
              <a:rPr lang="en-GB"/>
              <a:t>se the buttons “Increase List Level” and “Decrease List Level”</a:t>
            </a:r>
            <a:r>
              <a:rPr lang="en-US">
                <a:solidFill>
                  <a:srgbClr val="000000"/>
                </a:solidFill>
                <a:effectLst/>
              </a:rPr>
              <a:t> on the start menu tab. The buttons takes you to the next text level. The sub-chapters must be listed manually with the following logic: 1.1, 1.2, 1.3 </a:t>
            </a:r>
            <a:r>
              <a:rPr lang="en-US" err="1">
                <a:solidFill>
                  <a:srgbClr val="000000"/>
                </a:solidFill>
                <a:effectLst/>
              </a:rPr>
              <a:t>etc</a:t>
            </a:r>
            <a:r>
              <a:rPr lang="en-GB"/>
              <a:t>.</a:t>
            </a:r>
          </a:p>
          <a:p>
            <a:pPr lvl="1"/>
            <a:r>
              <a:rPr lang="en-GB"/>
              <a:t>Subchapter</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7857144"/>
      </p:ext>
    </p:extLst>
  </p:cSld>
  <p:clrMapOvr>
    <a:masterClrMapping/>
  </p:clrMapOvr>
  <p:extLst>
    <p:ext uri="{DCECCB84-F9BA-43D5-87BE-67443E8EF086}">
      <p15:sldGuideLst xmlns:p15="http://schemas.microsoft.com/office/powerpoint/2012/main">
        <p15:guide id="3" pos="1481" userDrawn="1">
          <p15:clr>
            <a:srgbClr val="5ACBF0"/>
          </p15:clr>
        </p15:guide>
        <p15:guide id="4" pos="3931" userDrawn="1">
          <p15:clr>
            <a:srgbClr val="5ACBF0"/>
          </p15:clr>
        </p15:guide>
        <p15:guide id="5" orient="horz" pos="1298" userDrawn="1">
          <p15:clr>
            <a:srgbClr val="5ACBF0"/>
          </p15:clr>
        </p15:guide>
        <p15:guide id="6" orient="horz" pos="709"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4266AD35-D4E4-4E87-AFDA-554A98DED5A1}"/>
              </a:ext>
            </a:extLst>
          </p:cNvPr>
          <p:cNvSpPr/>
          <p:nvPr/>
        </p:nvSpPr>
        <p:spPr bwMode="gray">
          <a:xfrm>
            <a:off x="-52" y="2138149"/>
            <a:ext cx="2128071" cy="3451091"/>
          </a:xfrm>
          <a:custGeom>
            <a:avLst/>
            <a:gdLst>
              <a:gd name="connsiteX0" fmla="*/ 1007745 w 1592884"/>
              <a:gd name="connsiteY0" fmla="*/ 504825 h 2583179"/>
              <a:gd name="connsiteX1" fmla="*/ 0 w 1592884"/>
              <a:gd name="connsiteY1" fmla="*/ 0 h 2583179"/>
              <a:gd name="connsiteX2" fmla="*/ 0 w 1592884"/>
              <a:gd name="connsiteY2" fmla="*/ 2583180 h 2583179"/>
              <a:gd name="connsiteX3" fmla="*/ 626745 w 1592884"/>
              <a:gd name="connsiteY3" fmla="*/ 2308860 h 2583179"/>
              <a:gd name="connsiteX4" fmla="*/ 1592580 w 1592884"/>
              <a:gd name="connsiteY4" fmla="*/ 1283018 h 2583179"/>
              <a:gd name="connsiteX5" fmla="*/ 1007745 w 1592884"/>
              <a:gd name="connsiteY5" fmla="*/ 504825 h 258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2884" h="2583179">
                <a:moveTo>
                  <a:pt x="1007745" y="504825"/>
                </a:moveTo>
                <a:lnTo>
                  <a:pt x="0" y="0"/>
                </a:lnTo>
                <a:lnTo>
                  <a:pt x="0" y="2583180"/>
                </a:lnTo>
                <a:lnTo>
                  <a:pt x="626745" y="2308860"/>
                </a:lnTo>
                <a:cubicBezTo>
                  <a:pt x="1230630" y="2045018"/>
                  <a:pt x="1582103" y="1671638"/>
                  <a:pt x="1592580" y="1283018"/>
                </a:cubicBezTo>
                <a:cubicBezTo>
                  <a:pt x="1598295" y="1104900"/>
                  <a:pt x="1527810" y="766763"/>
                  <a:pt x="1007745" y="504825"/>
                </a:cubicBezTo>
                <a:close/>
              </a:path>
            </a:pathLst>
          </a:custGeom>
          <a:solidFill>
            <a:srgbClr val="FFE84E"/>
          </a:solidFill>
          <a:ln w="9525"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2AD0B945-68CC-496F-8FC9-64B5CE4427F6}"/>
              </a:ext>
            </a:extLst>
          </p:cNvPr>
          <p:cNvSpPr/>
          <p:nvPr userDrawn="1"/>
        </p:nvSpPr>
        <p:spPr bwMode="gray">
          <a:xfrm>
            <a:off x="1694054" y="0"/>
            <a:ext cx="10162586" cy="6875460"/>
          </a:xfrm>
          <a:custGeom>
            <a:avLst/>
            <a:gdLst>
              <a:gd name="connsiteX0" fmla="*/ 7019925 w 7606807"/>
              <a:gd name="connsiteY0" fmla="*/ 2116455 h 5146357"/>
              <a:gd name="connsiteX1" fmla="*/ 2802255 w 7606807"/>
              <a:gd name="connsiteY1" fmla="*/ 0 h 5146357"/>
              <a:gd name="connsiteX2" fmla="*/ 2107883 w 7606807"/>
              <a:gd name="connsiteY2" fmla="*/ 0 h 5146357"/>
              <a:gd name="connsiteX3" fmla="*/ 1528762 w 7606807"/>
              <a:gd name="connsiteY3" fmla="*/ 1363028 h 5146357"/>
              <a:gd name="connsiteX4" fmla="*/ 5033963 w 7606807"/>
              <a:gd name="connsiteY4" fmla="*/ 3000375 h 5146357"/>
              <a:gd name="connsiteX5" fmla="*/ 0 w 7606807"/>
              <a:gd name="connsiteY5" fmla="*/ 5146358 h 5146357"/>
              <a:gd name="connsiteX6" fmla="*/ 3833812 w 7606807"/>
              <a:gd name="connsiteY6" fmla="*/ 5146358 h 5146357"/>
              <a:gd name="connsiteX7" fmla="*/ 6640830 w 7606807"/>
              <a:gd name="connsiteY7" fmla="*/ 3920490 h 5146357"/>
              <a:gd name="connsiteX8" fmla="*/ 7606665 w 7606807"/>
              <a:gd name="connsiteY8" fmla="*/ 2894648 h 5146357"/>
              <a:gd name="connsiteX9" fmla="*/ 7019925 w 7606807"/>
              <a:gd name="connsiteY9" fmla="*/ 2116455 h 514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06807" h="5146357">
                <a:moveTo>
                  <a:pt x="7019925" y="2116455"/>
                </a:moveTo>
                <a:lnTo>
                  <a:pt x="2802255" y="0"/>
                </a:lnTo>
                <a:lnTo>
                  <a:pt x="2107883" y="0"/>
                </a:lnTo>
                <a:lnTo>
                  <a:pt x="1528762" y="1363028"/>
                </a:lnTo>
                <a:lnTo>
                  <a:pt x="5033963" y="3000375"/>
                </a:lnTo>
                <a:lnTo>
                  <a:pt x="0" y="5146358"/>
                </a:lnTo>
                <a:lnTo>
                  <a:pt x="3833812" y="5146358"/>
                </a:lnTo>
                <a:lnTo>
                  <a:pt x="6640830" y="3920490"/>
                </a:lnTo>
                <a:cubicBezTo>
                  <a:pt x="7243763" y="3656648"/>
                  <a:pt x="7596188" y="3283268"/>
                  <a:pt x="7606665" y="2894648"/>
                </a:cubicBezTo>
                <a:cubicBezTo>
                  <a:pt x="7610475" y="2716530"/>
                  <a:pt x="7540943" y="2378393"/>
                  <a:pt x="7019925" y="2116455"/>
                </a:cubicBezTo>
                <a:close/>
              </a:path>
            </a:pathLst>
          </a:custGeom>
          <a:solidFill>
            <a:srgbClr val="FFE84E"/>
          </a:solidFill>
          <a:ln w="9525" cap="flat">
            <a:noFill/>
            <a:prstDash val="solid"/>
            <a:miter/>
          </a:ln>
        </p:spPr>
        <p:txBody>
          <a:bodyPr rtlCol="0" anchor="ctr"/>
          <a:lstStyle/>
          <a:p>
            <a:endParaRPr lang="en-GB"/>
          </a:p>
        </p:txBody>
      </p:sp>
      <p:sp>
        <p:nvSpPr>
          <p:cNvPr id="2" name="Titel 1"/>
          <p:cNvSpPr>
            <a:spLocks noGrp="1"/>
          </p:cNvSpPr>
          <p:nvPr>
            <p:ph type="title" hasCustomPrompt="1"/>
          </p:nvPr>
        </p:nvSpPr>
        <p:spPr bwMode="gray">
          <a:xfrm>
            <a:off x="2351088" y="2996952"/>
            <a:ext cx="4392984" cy="1296144"/>
          </a:xfrm>
        </p:spPr>
        <p:txBody>
          <a:bodyPr bIns="90000" anchor="b"/>
          <a:lstStyle>
            <a:lvl1pPr>
              <a:defRPr sz="2400"/>
            </a:lvl1pPr>
          </a:lstStyle>
          <a:p>
            <a:r>
              <a:rPr lang="en-GB"/>
              <a:t>Short Chapter description</a:t>
            </a:r>
            <a:br>
              <a:rPr lang="en-GB"/>
            </a:br>
            <a:r>
              <a:rPr lang="en-GB"/>
              <a:t>in maximum three lines.</a:t>
            </a:r>
          </a:p>
        </p:txBody>
      </p:sp>
      <p:sp>
        <p:nvSpPr>
          <p:cNvPr id="3" name="Textplatzhalter 2"/>
          <p:cNvSpPr>
            <a:spLocks noGrp="1"/>
          </p:cNvSpPr>
          <p:nvPr>
            <p:ph type="body" idx="1" hasCustomPrompt="1"/>
          </p:nvPr>
        </p:nvSpPr>
        <p:spPr bwMode="gray">
          <a:xfrm>
            <a:off x="2351584" y="4437112"/>
            <a:ext cx="4392488" cy="617030"/>
          </a:xfrm>
        </p:spPr>
        <p:txBody>
          <a:bodyPr/>
          <a:lstStyle>
            <a:lvl1pPr marL="0" indent="0">
              <a:spcBef>
                <a:spcPts val="0"/>
              </a:spcBef>
              <a:spcAft>
                <a:spcPts val="0"/>
              </a:spcAft>
              <a:buNone/>
              <a:defRPr sz="1600" b="0" i="1">
                <a:solidFill>
                  <a:srgbClr val="706F6F"/>
                </a:solidFill>
                <a:latin typeface="+mn-lt"/>
              </a:defRPr>
            </a:lvl1pPr>
            <a:lvl2pPr marL="0" indent="0">
              <a:spcBef>
                <a:spcPts val="0"/>
              </a:spcBef>
              <a:spcAft>
                <a:spcPts val="0"/>
              </a:spcAft>
              <a:buNone/>
              <a:defRPr sz="1600" b="0" i="1">
                <a:solidFill>
                  <a:srgbClr val="706F6F"/>
                </a:solidFill>
              </a:defRPr>
            </a:lvl2pPr>
            <a:lvl3pPr marL="0" indent="0">
              <a:spcBef>
                <a:spcPts val="0"/>
              </a:spcBef>
              <a:spcAft>
                <a:spcPts val="0"/>
              </a:spcAft>
              <a:buNone/>
              <a:defRPr sz="1600" b="0" i="1">
                <a:solidFill>
                  <a:srgbClr val="706F6F"/>
                </a:solidFill>
              </a:defRPr>
            </a:lvl3pPr>
            <a:lvl4pPr marL="0" indent="0">
              <a:spcBef>
                <a:spcPts val="0"/>
              </a:spcBef>
              <a:spcAft>
                <a:spcPts val="0"/>
              </a:spcAft>
              <a:buNone/>
              <a:defRPr sz="1600" b="0" i="1">
                <a:solidFill>
                  <a:srgbClr val="706F6F"/>
                </a:solidFill>
              </a:defRPr>
            </a:lvl4pPr>
            <a:lvl5pPr marL="0" indent="0">
              <a:spcBef>
                <a:spcPts val="0"/>
              </a:spcBef>
              <a:spcAft>
                <a:spcPts val="0"/>
              </a:spcAft>
              <a:buNone/>
              <a:defRPr sz="1600" b="0" i="1">
                <a:solidFill>
                  <a:srgbClr val="706F6F"/>
                </a:solidFill>
              </a:defRPr>
            </a:lvl5pPr>
            <a:lvl6pPr marL="0" indent="0">
              <a:spcBef>
                <a:spcPts val="0"/>
              </a:spcBef>
              <a:spcAft>
                <a:spcPts val="0"/>
              </a:spcAft>
              <a:buNone/>
              <a:defRPr sz="1600" b="0" i="1">
                <a:solidFill>
                  <a:srgbClr val="706F6F"/>
                </a:solidFill>
              </a:defRPr>
            </a:lvl6pPr>
            <a:lvl7pPr marL="0" indent="0">
              <a:spcBef>
                <a:spcPts val="0"/>
              </a:spcBef>
              <a:spcAft>
                <a:spcPts val="0"/>
              </a:spcAft>
              <a:buNone/>
              <a:defRPr sz="1600" b="0" i="1">
                <a:solidFill>
                  <a:srgbClr val="706F6F"/>
                </a:solidFill>
              </a:defRPr>
            </a:lvl7pPr>
            <a:lvl8pPr marL="0" indent="0">
              <a:spcBef>
                <a:spcPts val="0"/>
              </a:spcBef>
              <a:spcAft>
                <a:spcPts val="0"/>
              </a:spcAft>
              <a:buNone/>
              <a:defRPr sz="1600" b="0" i="1">
                <a:solidFill>
                  <a:srgbClr val="706F6F"/>
                </a:solidFill>
              </a:defRPr>
            </a:lvl8pPr>
            <a:lvl9pPr marL="0" indent="0">
              <a:spcBef>
                <a:spcPts val="0"/>
              </a:spcBef>
              <a:spcAft>
                <a:spcPts val="0"/>
              </a:spcAft>
              <a:buNone/>
              <a:defRPr sz="1600" b="0" i="1">
                <a:solidFill>
                  <a:srgbClr val="706F6F"/>
                </a:solidFill>
              </a:defRPr>
            </a:lvl9pPr>
          </a:lstStyle>
          <a:p>
            <a:r>
              <a:rPr lang="en-GB"/>
              <a:t>Optional Chapter Subheading or short </a:t>
            </a:r>
            <a:br>
              <a:rPr lang="en-GB"/>
            </a:br>
            <a:r>
              <a:rPr lang="en-GB"/>
              <a:t>Chapter description.</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gray"/>
        <p:txBody>
          <a:bodyPr/>
          <a:lstStyle/>
          <a:p>
            <a:r>
              <a:rPr lang="en-GB"/>
              <a:t>Green Gantry</a:t>
            </a:r>
            <a:endParaRPr lang="en-GB" i="1"/>
          </a:p>
        </p:txBody>
      </p:sp>
      <p:sp>
        <p:nvSpPr>
          <p:cNvPr id="6" name="Foliennummernplatzhalter 5"/>
          <p:cNvSpPr>
            <a:spLocks noGrp="1"/>
          </p:cNvSpPr>
          <p:nvPr>
            <p:ph type="sldNum" sz="quarter" idx="12"/>
          </p:nvPr>
        </p:nvSpPr>
        <p:spPr bwMode="gray"/>
        <p:txBody>
          <a:bodyPr/>
          <a:lstStyle/>
          <a:p>
            <a:fld id="{8FF9B0DE-3FEB-4AA0-B465-B80EF7C1333D}" type="slidenum">
              <a:rPr lang="en-GB" smtClean="0"/>
              <a:t>‹Nr.›</a:t>
            </a:fld>
            <a:endParaRPr lang="en-GB"/>
          </a:p>
        </p:txBody>
      </p:sp>
      <p:sp>
        <p:nvSpPr>
          <p:cNvPr id="10" name="Textplatzhalter 2">
            <a:extLst>
              <a:ext uri="{FF2B5EF4-FFF2-40B4-BE49-F238E27FC236}">
                <a16:creationId xmlns:a16="http://schemas.microsoft.com/office/drawing/2014/main" id="{A8F7168D-F133-4D84-99B4-1C2586DB9DFE}"/>
              </a:ext>
            </a:extLst>
          </p:cNvPr>
          <p:cNvSpPr>
            <a:spLocks noGrp="1"/>
          </p:cNvSpPr>
          <p:nvPr>
            <p:ph type="body" idx="13" hasCustomPrompt="1"/>
          </p:nvPr>
        </p:nvSpPr>
        <p:spPr bwMode="gray">
          <a:xfrm>
            <a:off x="623082" y="3356992"/>
            <a:ext cx="1080120" cy="864096"/>
          </a:xfrm>
        </p:spPr>
        <p:txBody>
          <a:bodyPr/>
          <a:lstStyle>
            <a:lvl1pPr marL="0" indent="0" algn="r">
              <a:spcBef>
                <a:spcPts val="0"/>
              </a:spcBef>
              <a:spcAft>
                <a:spcPts val="600"/>
              </a:spcAft>
              <a:buNone/>
              <a:defRPr sz="6000" b="1">
                <a:solidFill>
                  <a:schemeClr val="tx1"/>
                </a:solidFill>
                <a:latin typeface="+mn-lt"/>
              </a:defRPr>
            </a:lvl1pPr>
            <a:lvl2pPr marL="0" indent="0" algn="r">
              <a:spcBef>
                <a:spcPts val="0"/>
              </a:spcBef>
              <a:spcAft>
                <a:spcPts val="0"/>
              </a:spcAft>
              <a:buNone/>
              <a:defRPr sz="6000" b="1" i="0">
                <a:solidFill>
                  <a:schemeClr val="tx1"/>
                </a:solidFill>
              </a:defRPr>
            </a:lvl2pPr>
            <a:lvl3pPr marL="0" indent="0" algn="r">
              <a:spcBef>
                <a:spcPts val="0"/>
              </a:spcBef>
              <a:spcAft>
                <a:spcPts val="0"/>
              </a:spcAft>
              <a:buNone/>
              <a:defRPr sz="6000" b="1" i="0">
                <a:solidFill>
                  <a:schemeClr val="tx1"/>
                </a:solidFill>
              </a:defRPr>
            </a:lvl3pPr>
            <a:lvl4pPr marL="0" indent="0" algn="r">
              <a:spcBef>
                <a:spcPts val="0"/>
              </a:spcBef>
              <a:spcAft>
                <a:spcPts val="0"/>
              </a:spcAft>
              <a:buNone/>
              <a:defRPr sz="6000" b="1" i="0">
                <a:solidFill>
                  <a:schemeClr val="tx1"/>
                </a:solidFill>
              </a:defRPr>
            </a:lvl4pPr>
            <a:lvl5pPr marL="0" indent="0" algn="r">
              <a:spcBef>
                <a:spcPts val="0"/>
              </a:spcBef>
              <a:spcAft>
                <a:spcPts val="0"/>
              </a:spcAft>
              <a:buNone/>
              <a:defRPr sz="6000" b="1" i="0">
                <a:solidFill>
                  <a:schemeClr val="tx1"/>
                </a:solidFill>
              </a:defRPr>
            </a:lvl5pPr>
            <a:lvl6pPr marL="0" indent="0" algn="r">
              <a:spcBef>
                <a:spcPts val="0"/>
              </a:spcBef>
              <a:spcAft>
                <a:spcPts val="0"/>
              </a:spcAft>
              <a:buNone/>
              <a:defRPr sz="6000" b="1" i="0">
                <a:solidFill>
                  <a:schemeClr val="tx1"/>
                </a:solidFill>
              </a:defRPr>
            </a:lvl6pPr>
            <a:lvl7pPr marL="0" indent="0" algn="r">
              <a:spcBef>
                <a:spcPts val="0"/>
              </a:spcBef>
              <a:spcAft>
                <a:spcPts val="0"/>
              </a:spcAft>
              <a:buNone/>
              <a:defRPr sz="6000" b="1" i="0">
                <a:solidFill>
                  <a:schemeClr val="tx1"/>
                </a:solidFill>
              </a:defRPr>
            </a:lvl7pPr>
            <a:lvl8pPr marL="0" indent="0" algn="r">
              <a:spcBef>
                <a:spcPts val="0"/>
              </a:spcBef>
              <a:spcAft>
                <a:spcPts val="0"/>
              </a:spcAft>
              <a:buNone/>
              <a:defRPr sz="6000" b="1" i="0">
                <a:solidFill>
                  <a:schemeClr val="tx1"/>
                </a:solidFill>
              </a:defRPr>
            </a:lvl8pPr>
            <a:lvl9pPr marL="0" indent="0" algn="r">
              <a:spcBef>
                <a:spcPts val="0"/>
              </a:spcBef>
              <a:spcAft>
                <a:spcPts val="0"/>
              </a:spcAft>
              <a:buNone/>
              <a:defRPr sz="6000" b="1" i="0">
                <a:solidFill>
                  <a:schemeClr val="tx1"/>
                </a:solidFill>
              </a:defRPr>
            </a:lvl9pPr>
          </a:lstStyle>
          <a:p>
            <a:r>
              <a:rPr lang="en-GB"/>
              <a:t>00</a:t>
            </a:r>
          </a:p>
        </p:txBody>
      </p:sp>
    </p:spTree>
    <p:extLst>
      <p:ext uri="{BB962C8B-B14F-4D97-AF65-F5344CB8AC3E}">
        <p14:creationId xmlns:p14="http://schemas.microsoft.com/office/powerpoint/2010/main" val="2927356528"/>
      </p:ext>
    </p:extLst>
  </p:cSld>
  <p:clrMapOvr>
    <a:masterClrMapping/>
  </p:clrMapOvr>
  <p:extLst>
    <p:ext uri="{DCECCB84-F9BA-43D5-87BE-67443E8EF086}">
      <p15:sldGuideLst xmlns:p15="http://schemas.microsoft.com/office/powerpoint/2012/main">
        <p15:guide id="2" pos="1481" userDrawn="1">
          <p15:clr>
            <a:srgbClr val="FBAE40"/>
          </p15:clr>
        </p15:guide>
        <p15:guide id="3" orient="horz" pos="2605" userDrawn="1">
          <p15:clr>
            <a:srgbClr val="5ACBF0"/>
          </p15:clr>
        </p15:guide>
        <p15:guide id="4" orient="horz" pos="2925"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I Picture">
    <p:bg>
      <p:bgPr>
        <a:solidFill>
          <a:schemeClr val="bg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8C9BC4-55C0-46A2-8E55-48D296735C6A}"/>
              </a:ext>
            </a:extLst>
          </p:cNvPr>
          <p:cNvSpPr/>
          <p:nvPr userDrawn="1"/>
        </p:nvSpPr>
        <p:spPr bwMode="gray">
          <a:xfrm>
            <a:off x="11164370" y="260648"/>
            <a:ext cx="836286" cy="202265"/>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err="1">
              <a:solidFill>
                <a:schemeClr val="tx1"/>
              </a:solidFill>
            </a:endParaRPr>
          </a:p>
        </p:txBody>
      </p:sp>
      <p:sp>
        <p:nvSpPr>
          <p:cNvPr id="12" name="Fußzeilenplatzhalter 5">
            <a:extLst>
              <a:ext uri="{FF2B5EF4-FFF2-40B4-BE49-F238E27FC236}">
                <a16:creationId xmlns:a16="http://schemas.microsoft.com/office/drawing/2014/main" id="{D8EB16C9-EA0B-4F3F-9594-3CC7EBDF686E}"/>
              </a:ext>
            </a:extLst>
          </p:cNvPr>
          <p:cNvSpPr>
            <a:spLocks noGrp="1"/>
          </p:cNvSpPr>
          <p:nvPr>
            <p:ph type="ftr" sz="quarter" idx="11"/>
          </p:nvPr>
        </p:nvSpPr>
        <p:spPr bwMode="gray">
          <a:xfrm>
            <a:off x="8831966" y="304475"/>
            <a:ext cx="1801058" cy="144000"/>
          </a:xfrm>
        </p:spPr>
        <p:txBody>
          <a:bodyPr/>
          <a:lstStyle>
            <a:lvl1pPr>
              <a:defRPr>
                <a:solidFill>
                  <a:schemeClr val="tx1"/>
                </a:solidFill>
              </a:defRPr>
            </a:lvl1pPr>
          </a:lstStyle>
          <a:p>
            <a:r>
              <a:rPr lang="en-GB"/>
              <a:t>Green Gantry</a:t>
            </a:r>
          </a:p>
        </p:txBody>
      </p:sp>
      <p:sp>
        <p:nvSpPr>
          <p:cNvPr id="13" name="Foliennummernplatzhalter 6">
            <a:extLst>
              <a:ext uri="{FF2B5EF4-FFF2-40B4-BE49-F238E27FC236}">
                <a16:creationId xmlns:a16="http://schemas.microsoft.com/office/drawing/2014/main" id="{5A2B5D64-02D6-4BBF-A4FD-42AD36B29405}"/>
              </a:ext>
            </a:extLst>
          </p:cNvPr>
          <p:cNvSpPr>
            <a:spLocks noGrp="1"/>
          </p:cNvSpPr>
          <p:nvPr>
            <p:ph type="sldNum" sz="quarter" idx="12"/>
          </p:nvPr>
        </p:nvSpPr>
        <p:spPr bwMode="gray">
          <a:xfrm>
            <a:off x="10777040" y="304475"/>
            <a:ext cx="287512" cy="144000"/>
          </a:xfrm>
        </p:spPr>
        <p:txBody>
          <a:bodyPr/>
          <a:lstStyle>
            <a:lvl1pPr>
              <a:defRPr>
                <a:solidFill>
                  <a:schemeClr val="tx1"/>
                </a:solidFill>
              </a:defRPr>
            </a:lvl1pPr>
          </a:lstStyle>
          <a:p>
            <a:fld id="{8FF9B0DE-3FEB-4AA0-B465-B80EF7C1333D}" type="slidenum">
              <a:rPr lang="en-GB" smtClean="0"/>
              <a:pPr/>
              <a:t>‹Nr.›</a:t>
            </a:fld>
            <a:endParaRPr lang="en-GB"/>
          </a:p>
        </p:txBody>
      </p:sp>
      <p:cxnSp>
        <p:nvCxnSpPr>
          <p:cNvPr id="14" name="Gerader Verbinder 13">
            <a:extLst>
              <a:ext uri="{FF2B5EF4-FFF2-40B4-BE49-F238E27FC236}">
                <a16:creationId xmlns:a16="http://schemas.microsoft.com/office/drawing/2014/main" id="{AE503425-7F10-439B-988B-DDEE0CEC1F5D}"/>
              </a:ext>
            </a:extLst>
          </p:cNvPr>
          <p:cNvCxnSpPr>
            <a:cxnSpLocks/>
          </p:cNvCxnSpPr>
          <p:nvPr userDrawn="1"/>
        </p:nvCxnSpPr>
        <p:spPr bwMode="gray">
          <a:xfrm>
            <a:off x="11136560" y="0"/>
            <a:ext cx="0" cy="462913"/>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6595692-0001-42BE-9059-19018FB52CF5}"/>
              </a:ext>
            </a:extLst>
          </p:cNvPr>
          <p:cNvCxnSpPr>
            <a:cxnSpLocks/>
          </p:cNvCxnSpPr>
          <p:nvPr userDrawn="1"/>
        </p:nvCxnSpPr>
        <p:spPr bwMode="gray">
          <a:xfrm>
            <a:off x="10705032" y="304974"/>
            <a:ext cx="0" cy="157939"/>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4BDBA074-70C0-41D2-A3F0-BBD98EFB3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8568" y="311701"/>
            <a:ext cx="720080" cy="120440"/>
          </a:xfrm>
          <a:prstGeom prst="rect">
            <a:avLst/>
          </a:prstGeom>
        </p:spPr>
      </p:pic>
      <p:sp>
        <p:nvSpPr>
          <p:cNvPr id="19" name="Titel 1">
            <a:extLst>
              <a:ext uri="{FF2B5EF4-FFF2-40B4-BE49-F238E27FC236}">
                <a16:creationId xmlns:a16="http://schemas.microsoft.com/office/drawing/2014/main" id="{46845C21-8621-4534-B429-EB8EC6B3B675}"/>
              </a:ext>
            </a:extLst>
          </p:cNvPr>
          <p:cNvSpPr>
            <a:spLocks noGrp="1"/>
          </p:cNvSpPr>
          <p:nvPr>
            <p:ph type="title" hasCustomPrompt="1"/>
          </p:nvPr>
        </p:nvSpPr>
        <p:spPr bwMode="gray">
          <a:xfrm>
            <a:off x="6240464" y="1124744"/>
            <a:ext cx="4608512" cy="647402"/>
          </a:xfrm>
        </p:spPr>
        <p:txBody>
          <a:bodyPr/>
          <a:lstStyle>
            <a:lvl1pPr>
              <a:defRPr sz="3200"/>
            </a:lvl1pPr>
          </a:lstStyle>
          <a:p>
            <a:r>
              <a:rPr lang="en-GB"/>
              <a:t>Agenda.</a:t>
            </a:r>
          </a:p>
        </p:txBody>
      </p:sp>
      <p:sp>
        <p:nvSpPr>
          <p:cNvPr id="20" name="Bildplatzhalter 9">
            <a:extLst>
              <a:ext uri="{FF2B5EF4-FFF2-40B4-BE49-F238E27FC236}">
                <a16:creationId xmlns:a16="http://schemas.microsoft.com/office/drawing/2014/main" id="{BE9ADF83-31E0-45D8-8DBA-6F987FDC52B3}"/>
              </a:ext>
            </a:extLst>
          </p:cNvPr>
          <p:cNvSpPr>
            <a:spLocks noGrp="1"/>
          </p:cNvSpPr>
          <p:nvPr>
            <p:ph type="pic" sz="quarter" idx="10" hasCustomPrompt="1"/>
          </p:nvPr>
        </p:nvSpPr>
        <p:spPr bwMode="gray">
          <a:xfrm>
            <a:off x="0" y="0"/>
            <a:ext cx="5610054" cy="6862633"/>
          </a:xfrm>
          <a:custGeom>
            <a:avLst/>
            <a:gdLst>
              <a:gd name="connsiteX0" fmla="*/ 1669124 w 5610054"/>
              <a:gd name="connsiteY0" fmla="*/ 481655 h 6862633"/>
              <a:gd name="connsiteX1" fmla="*/ 2598121 w 5610054"/>
              <a:gd name="connsiteY1" fmla="*/ 1357276 h 6862633"/>
              <a:gd name="connsiteX2" fmla="*/ 5002585 w 5610054"/>
              <a:gd name="connsiteY2" fmla="*/ 6862633 h 6862633"/>
              <a:gd name="connsiteX3" fmla="*/ 3490263 w 5610054"/>
              <a:gd name="connsiteY3" fmla="*/ 6862633 h 6862633"/>
              <a:gd name="connsiteX4" fmla="*/ 1764438 w 5610054"/>
              <a:gd name="connsiteY4" fmla="*/ 2813679 h 6862633"/>
              <a:gd name="connsiteX5" fmla="*/ 280076 w 5610054"/>
              <a:gd name="connsiteY5" fmla="*/ 5990824 h 6862633"/>
              <a:gd name="connsiteX6" fmla="*/ 0 w 5610054"/>
              <a:gd name="connsiteY6" fmla="*/ 5871309 h 6862633"/>
              <a:gd name="connsiteX7" fmla="*/ 0 w 5610054"/>
              <a:gd name="connsiteY7" fmla="*/ 2931708 h 6862633"/>
              <a:gd name="connsiteX8" fmla="*/ 963798 w 5610054"/>
              <a:gd name="connsiteY8" fmla="*/ 1012873 h 6862633"/>
              <a:gd name="connsiteX9" fmla="*/ 1669124 w 5610054"/>
              <a:gd name="connsiteY9" fmla="*/ 481655 h 6862633"/>
              <a:gd name="connsiteX10" fmla="*/ 3299634 w 5610054"/>
              <a:gd name="connsiteY10" fmla="*/ 0 h 6862633"/>
              <a:gd name="connsiteX11" fmla="*/ 4806872 w 5610054"/>
              <a:gd name="connsiteY11" fmla="*/ 0 h 6862633"/>
              <a:gd name="connsiteX12" fmla="*/ 5610054 w 5610054"/>
              <a:gd name="connsiteY12" fmla="*/ 1836390 h 6862633"/>
              <a:gd name="connsiteX13" fmla="*/ 3745705 w 5610054"/>
              <a:gd name="connsiteY13" fmla="*/ 1045916 h 68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10054" h="6862633">
                <a:moveTo>
                  <a:pt x="1669124" y="481655"/>
                </a:moveTo>
                <a:cubicBezTo>
                  <a:pt x="2019881" y="490550"/>
                  <a:pt x="2359200" y="810807"/>
                  <a:pt x="2598121" y="1357276"/>
                </a:cubicBezTo>
                <a:lnTo>
                  <a:pt x="5002585" y="6862633"/>
                </a:lnTo>
                <a:lnTo>
                  <a:pt x="3490263" y="6862633"/>
                </a:lnTo>
                <a:lnTo>
                  <a:pt x="1764438" y="2813679"/>
                </a:lnTo>
                <a:lnTo>
                  <a:pt x="280076" y="5990824"/>
                </a:lnTo>
                <a:lnTo>
                  <a:pt x="0" y="5871309"/>
                </a:lnTo>
                <a:lnTo>
                  <a:pt x="0" y="2931708"/>
                </a:lnTo>
                <a:lnTo>
                  <a:pt x="963798" y="1012873"/>
                </a:lnTo>
                <a:cubicBezTo>
                  <a:pt x="1200177" y="540114"/>
                  <a:pt x="1507725" y="477842"/>
                  <a:pt x="1669124" y="481655"/>
                </a:cubicBezTo>
                <a:close/>
                <a:moveTo>
                  <a:pt x="3299634" y="0"/>
                </a:moveTo>
                <a:lnTo>
                  <a:pt x="4806872" y="0"/>
                </a:lnTo>
                <a:lnTo>
                  <a:pt x="5610054" y="1836390"/>
                </a:lnTo>
                <a:lnTo>
                  <a:pt x="3745705" y="1045916"/>
                </a:lnTo>
                <a:close/>
              </a:path>
            </a:pathLst>
          </a:custGeom>
          <a:solidFill>
            <a:schemeClr val="bg1">
              <a:lumMod val="85000"/>
            </a:schemeClr>
          </a:solidFill>
        </p:spPr>
        <p:txBody>
          <a:bodyPr wrap="square" lIns="144000" anchor="ctr" anchorCtr="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a:t>Image Placeholder</a:t>
            </a:r>
          </a:p>
        </p:txBody>
      </p:sp>
      <p:sp>
        <p:nvSpPr>
          <p:cNvPr id="21" name="Textplatzhalter 9">
            <a:extLst>
              <a:ext uri="{FF2B5EF4-FFF2-40B4-BE49-F238E27FC236}">
                <a16:creationId xmlns:a16="http://schemas.microsoft.com/office/drawing/2014/main" id="{CD14AF1F-F486-4B55-B15E-1436BD8C0DAD}"/>
              </a:ext>
            </a:extLst>
          </p:cNvPr>
          <p:cNvSpPr>
            <a:spLocks noGrp="1"/>
          </p:cNvSpPr>
          <p:nvPr>
            <p:ph type="body" sz="quarter" idx="16" hasCustomPrompt="1"/>
          </p:nvPr>
        </p:nvSpPr>
        <p:spPr bwMode="gray">
          <a:xfrm>
            <a:off x="6240016" y="2106190"/>
            <a:ext cx="4608959" cy="3915198"/>
          </a:xfrm>
        </p:spPr>
        <p:txBody>
          <a:bodyPr/>
          <a:lstStyle>
            <a:lvl1pPr marL="358775" indent="-358775">
              <a:spcBef>
                <a:spcPts val="2000"/>
              </a:spcBef>
              <a:spcAft>
                <a:spcPts val="200"/>
              </a:spcAft>
              <a:buSzPct val="100000"/>
              <a:buFont typeface="+mj-lt"/>
              <a:buAutoNum type="arabicPeriod"/>
              <a:defRPr sz="1400" b="1"/>
            </a:lvl1pPr>
            <a:lvl2pPr marL="720725" indent="-360363">
              <a:spcBef>
                <a:spcPts val="200"/>
              </a:spcBef>
              <a:spcAft>
                <a:spcPts val="200"/>
              </a:spcAft>
              <a:buClr>
                <a:schemeClr val="tx1"/>
              </a:buClr>
              <a:buFontTx/>
              <a:buNone/>
              <a:tabLst>
                <a:tab pos="803275" algn="l"/>
              </a:tabLst>
              <a:defRPr sz="1400" b="0" i="0"/>
            </a:lvl2pPr>
            <a:lvl3pPr marL="720725" indent="-360363">
              <a:spcBef>
                <a:spcPts val="200"/>
              </a:spcBef>
              <a:spcAft>
                <a:spcPts val="200"/>
              </a:spcAft>
              <a:buClr>
                <a:schemeClr val="tx1"/>
              </a:buClr>
              <a:buFontTx/>
              <a:buNone/>
              <a:tabLst>
                <a:tab pos="803275" algn="l"/>
              </a:tabLst>
              <a:defRPr sz="1400"/>
            </a:lvl3pPr>
            <a:lvl4pPr marL="720725" indent="-360363">
              <a:spcBef>
                <a:spcPts val="200"/>
              </a:spcBef>
              <a:spcAft>
                <a:spcPts val="200"/>
              </a:spcAft>
              <a:buClr>
                <a:schemeClr val="tx1"/>
              </a:buClr>
              <a:buFontTx/>
              <a:buNone/>
              <a:tabLst>
                <a:tab pos="803275" algn="l"/>
              </a:tabLst>
              <a:defRPr sz="1400"/>
            </a:lvl4pPr>
            <a:lvl5pPr marL="720725" indent="-360363">
              <a:spcBef>
                <a:spcPts val="200"/>
              </a:spcBef>
              <a:spcAft>
                <a:spcPts val="200"/>
              </a:spcAft>
              <a:buClr>
                <a:schemeClr val="tx1"/>
              </a:buClr>
              <a:buFontTx/>
              <a:buNone/>
              <a:tabLst>
                <a:tab pos="803275" algn="l"/>
              </a:tabLst>
              <a:defRPr sz="1400"/>
            </a:lvl5pPr>
            <a:lvl6pPr marL="720725" indent="-360363">
              <a:spcBef>
                <a:spcPts val="200"/>
              </a:spcBef>
              <a:spcAft>
                <a:spcPts val="200"/>
              </a:spcAft>
              <a:buClr>
                <a:schemeClr val="tx1"/>
              </a:buClr>
              <a:buFontTx/>
              <a:buNone/>
              <a:tabLst>
                <a:tab pos="803275" algn="l"/>
              </a:tabLst>
              <a:defRPr sz="1400"/>
            </a:lvl6pPr>
            <a:lvl7pPr marL="503238" indent="-142875">
              <a:spcBef>
                <a:spcPts val="200"/>
              </a:spcBef>
              <a:spcAft>
                <a:spcPts val="200"/>
              </a:spcAft>
              <a:buClr>
                <a:schemeClr val="tx1"/>
              </a:buClr>
              <a:buFontTx/>
              <a:buNone/>
              <a:tabLst>
                <a:tab pos="630238" algn="l"/>
              </a:tabLst>
              <a:defRPr sz="1400"/>
            </a:lvl7pPr>
            <a:lvl8pPr marL="720725" indent="-360363">
              <a:spcBef>
                <a:spcPts val="200"/>
              </a:spcBef>
              <a:spcAft>
                <a:spcPts val="200"/>
              </a:spcAft>
              <a:buClr>
                <a:schemeClr val="tx1"/>
              </a:buClr>
              <a:buFontTx/>
              <a:buNone/>
              <a:tabLst>
                <a:tab pos="803275" algn="l"/>
              </a:tabLst>
              <a:defRPr sz="1400"/>
            </a:lvl8pPr>
            <a:lvl9pPr marL="720725" indent="-360363">
              <a:spcBef>
                <a:spcPts val="200"/>
              </a:spcBef>
              <a:spcAft>
                <a:spcPts val="200"/>
              </a:spcAft>
              <a:buClr>
                <a:schemeClr val="tx1"/>
              </a:buClr>
              <a:buFontTx/>
              <a:buNone/>
              <a:tabLst>
                <a:tab pos="803275" algn="l"/>
              </a:tabLst>
              <a:defRPr sz="1400"/>
            </a:lvl9pPr>
          </a:lstStyle>
          <a:p>
            <a:pPr marL="358775" marR="0" lvl="0" indent="-358775" algn="l" defTabSz="914400" rtl="0" eaLnBrk="1" fontAlgn="auto" latinLnBrk="0" hangingPunct="1">
              <a:lnSpc>
                <a:spcPct val="110000"/>
              </a:lnSpc>
              <a:spcBef>
                <a:spcPts val="0"/>
              </a:spcBef>
              <a:spcAft>
                <a:spcPts val="200"/>
              </a:spcAft>
              <a:buClrTx/>
              <a:buSzPct val="100000"/>
              <a:buFont typeface="+mj-lt"/>
              <a:buAutoNum type="arabicPeriod"/>
              <a:tabLst/>
              <a:defRPr/>
            </a:pPr>
            <a:r>
              <a:rPr lang="en-US">
                <a:solidFill>
                  <a:srgbClr val="000000"/>
                </a:solidFill>
                <a:effectLst/>
              </a:rPr>
              <a:t>The chapter designation is provided with automatic lists. To create sub-chapters, </a:t>
            </a:r>
            <a:r>
              <a:rPr lang="en-GB">
                <a:solidFill>
                  <a:srgbClr val="000000"/>
                </a:solidFill>
                <a:effectLst/>
              </a:rPr>
              <a:t>u</a:t>
            </a:r>
            <a:r>
              <a:rPr lang="en-GB"/>
              <a:t>se the buttons “Increase List Level” and “Decrease List Level” </a:t>
            </a:r>
            <a:r>
              <a:rPr lang="en-US">
                <a:solidFill>
                  <a:srgbClr val="000000"/>
                </a:solidFill>
                <a:effectLst/>
              </a:rPr>
              <a:t> on the start menu tab. The buttons takes you to the next text level. The Subchapters must be listed manually with the following logic: 1.1, 1.2, 1.3 etc.</a:t>
            </a:r>
            <a:endParaRPr lang="en-GB"/>
          </a:p>
          <a:p>
            <a:pPr lvl="1"/>
            <a:r>
              <a:rPr lang="en-GB"/>
              <a:t>Subchapter</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508197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709" userDrawn="1">
          <p15:clr>
            <a:srgbClr val="5ACBF0"/>
          </p15:clr>
        </p15:guide>
        <p15:guide id="2" orient="horz" pos="1344" userDrawn="1">
          <p15:clr>
            <a:srgbClr val="5ACBF0"/>
          </p15:clr>
        </p15:guide>
        <p15:guide id="3" pos="3931" userDrawn="1">
          <p15:clr>
            <a:srgbClr val="5ACBF0"/>
          </p15:clr>
        </p15:guide>
        <p15:guide id="4" pos="6834" userDrawn="1">
          <p15:clr>
            <a:srgbClr val="5ACBF0"/>
          </p15:clr>
        </p15:guide>
        <p15:guide id="5" orient="horz" pos="1117" userDrawn="1">
          <p15:clr>
            <a:srgbClr val="5ACBF0"/>
          </p15:clr>
        </p15:guide>
        <p15:guide id="6" orient="horz" pos="3793"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I Picture">
    <p:bg>
      <p:bgPr>
        <a:solidFill>
          <a:schemeClr val="bg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8C9BC4-55C0-46A2-8E55-48D296735C6A}"/>
              </a:ext>
            </a:extLst>
          </p:cNvPr>
          <p:cNvSpPr/>
          <p:nvPr userDrawn="1"/>
        </p:nvSpPr>
        <p:spPr bwMode="gray">
          <a:xfrm>
            <a:off x="11164370" y="260648"/>
            <a:ext cx="836286" cy="202265"/>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err="1">
              <a:solidFill>
                <a:schemeClr val="tx1"/>
              </a:solidFill>
            </a:endParaRPr>
          </a:p>
        </p:txBody>
      </p:sp>
      <p:sp>
        <p:nvSpPr>
          <p:cNvPr id="12" name="Fußzeilenplatzhalter 5">
            <a:extLst>
              <a:ext uri="{FF2B5EF4-FFF2-40B4-BE49-F238E27FC236}">
                <a16:creationId xmlns:a16="http://schemas.microsoft.com/office/drawing/2014/main" id="{D8EB16C9-EA0B-4F3F-9594-3CC7EBDF686E}"/>
              </a:ext>
            </a:extLst>
          </p:cNvPr>
          <p:cNvSpPr>
            <a:spLocks noGrp="1"/>
          </p:cNvSpPr>
          <p:nvPr>
            <p:ph type="ftr" sz="quarter" idx="11"/>
          </p:nvPr>
        </p:nvSpPr>
        <p:spPr bwMode="gray">
          <a:xfrm>
            <a:off x="8831966" y="304475"/>
            <a:ext cx="1801058" cy="144000"/>
          </a:xfrm>
        </p:spPr>
        <p:txBody>
          <a:bodyPr/>
          <a:lstStyle>
            <a:lvl1pPr>
              <a:defRPr>
                <a:solidFill>
                  <a:schemeClr val="tx1"/>
                </a:solidFill>
              </a:defRPr>
            </a:lvl1pPr>
          </a:lstStyle>
          <a:p>
            <a:r>
              <a:rPr lang="en-GB"/>
              <a:t>Green Gantry</a:t>
            </a:r>
          </a:p>
        </p:txBody>
      </p:sp>
      <p:sp>
        <p:nvSpPr>
          <p:cNvPr id="13" name="Foliennummernplatzhalter 6">
            <a:extLst>
              <a:ext uri="{FF2B5EF4-FFF2-40B4-BE49-F238E27FC236}">
                <a16:creationId xmlns:a16="http://schemas.microsoft.com/office/drawing/2014/main" id="{5A2B5D64-02D6-4BBF-A4FD-42AD36B29405}"/>
              </a:ext>
            </a:extLst>
          </p:cNvPr>
          <p:cNvSpPr>
            <a:spLocks noGrp="1"/>
          </p:cNvSpPr>
          <p:nvPr>
            <p:ph type="sldNum" sz="quarter" idx="12"/>
          </p:nvPr>
        </p:nvSpPr>
        <p:spPr bwMode="gray">
          <a:xfrm>
            <a:off x="10777040" y="304475"/>
            <a:ext cx="287512" cy="144000"/>
          </a:xfrm>
        </p:spPr>
        <p:txBody>
          <a:bodyPr/>
          <a:lstStyle>
            <a:lvl1pPr>
              <a:defRPr>
                <a:solidFill>
                  <a:schemeClr val="tx1"/>
                </a:solidFill>
              </a:defRPr>
            </a:lvl1pPr>
          </a:lstStyle>
          <a:p>
            <a:fld id="{8FF9B0DE-3FEB-4AA0-B465-B80EF7C1333D}" type="slidenum">
              <a:rPr lang="en-GB" smtClean="0"/>
              <a:pPr/>
              <a:t>‹Nr.›</a:t>
            </a:fld>
            <a:endParaRPr lang="en-GB"/>
          </a:p>
        </p:txBody>
      </p:sp>
      <p:cxnSp>
        <p:nvCxnSpPr>
          <p:cNvPr id="14" name="Gerader Verbinder 13">
            <a:extLst>
              <a:ext uri="{FF2B5EF4-FFF2-40B4-BE49-F238E27FC236}">
                <a16:creationId xmlns:a16="http://schemas.microsoft.com/office/drawing/2014/main" id="{AE503425-7F10-439B-988B-DDEE0CEC1F5D}"/>
              </a:ext>
            </a:extLst>
          </p:cNvPr>
          <p:cNvCxnSpPr>
            <a:cxnSpLocks/>
          </p:cNvCxnSpPr>
          <p:nvPr userDrawn="1"/>
        </p:nvCxnSpPr>
        <p:spPr bwMode="gray">
          <a:xfrm>
            <a:off x="11136560" y="0"/>
            <a:ext cx="0" cy="462913"/>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6595692-0001-42BE-9059-19018FB52CF5}"/>
              </a:ext>
            </a:extLst>
          </p:cNvPr>
          <p:cNvCxnSpPr>
            <a:cxnSpLocks/>
          </p:cNvCxnSpPr>
          <p:nvPr userDrawn="1"/>
        </p:nvCxnSpPr>
        <p:spPr bwMode="gray">
          <a:xfrm>
            <a:off x="10705032" y="304974"/>
            <a:ext cx="0" cy="157939"/>
          </a:xfrm>
          <a:prstGeom prst="line">
            <a:avLst/>
          </a:prstGeom>
          <a:ln w="762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4BDBA074-70C0-41D2-A3F0-BBD98EFB3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08568" y="311701"/>
            <a:ext cx="720080" cy="120440"/>
          </a:xfrm>
          <a:prstGeom prst="rect">
            <a:avLst/>
          </a:prstGeom>
        </p:spPr>
      </p:pic>
      <p:sp>
        <p:nvSpPr>
          <p:cNvPr id="10" name="Bildplatzhalter 12">
            <a:extLst>
              <a:ext uri="{FF2B5EF4-FFF2-40B4-BE49-F238E27FC236}">
                <a16:creationId xmlns:a16="http://schemas.microsoft.com/office/drawing/2014/main" id="{11DFBBAA-C502-4E6B-B592-66D4999FE5B4}"/>
              </a:ext>
            </a:extLst>
          </p:cNvPr>
          <p:cNvSpPr>
            <a:spLocks noGrp="1"/>
          </p:cNvSpPr>
          <p:nvPr>
            <p:ph type="pic" sz="quarter" idx="10" hasCustomPrompt="1"/>
          </p:nvPr>
        </p:nvSpPr>
        <p:spPr bwMode="gray">
          <a:xfrm>
            <a:off x="2855640" y="-1755"/>
            <a:ext cx="9336359" cy="6859755"/>
          </a:xfrm>
          <a:custGeom>
            <a:avLst/>
            <a:gdLst>
              <a:gd name="connsiteX0" fmla="*/ 802097 w 9289706"/>
              <a:gd name="connsiteY0" fmla="*/ 0 h 6825477"/>
              <a:gd name="connsiteX1" fmla="*/ 3122347 w 9289706"/>
              <a:gd name="connsiteY1" fmla="*/ 0 h 6825477"/>
              <a:gd name="connsiteX2" fmla="*/ 9289706 w 9289706"/>
              <a:gd name="connsiteY2" fmla="*/ 3095018 h 6825477"/>
              <a:gd name="connsiteX3" fmla="*/ 9289706 w 9289706"/>
              <a:gd name="connsiteY3" fmla="*/ 6068277 h 6825477"/>
              <a:gd name="connsiteX4" fmla="*/ 9065068 w 9289706"/>
              <a:gd name="connsiteY4" fmla="*/ 6188157 h 6825477"/>
              <a:gd name="connsiteX5" fmla="*/ 8822053 w 9289706"/>
              <a:gd name="connsiteY5" fmla="*/ 6302060 h 6825477"/>
              <a:gd name="connsiteX6" fmla="*/ 7625671 w 9289706"/>
              <a:gd name="connsiteY6" fmla="*/ 6825477 h 6825477"/>
              <a:gd name="connsiteX7" fmla="*/ 1098796 w 9289706"/>
              <a:gd name="connsiteY7" fmla="*/ 6825477 h 6825477"/>
              <a:gd name="connsiteX8" fmla="*/ 6049082 w 9289706"/>
              <a:gd name="connsiteY8" fmla="*/ 4715332 h 6825477"/>
              <a:gd name="connsiteX9" fmla="*/ 0 w 9289706"/>
              <a:gd name="connsiteY9" fmla="*/ 1889132 h 682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9706" h="6825477">
                <a:moveTo>
                  <a:pt x="802097" y="0"/>
                </a:moveTo>
                <a:lnTo>
                  <a:pt x="3122347" y="0"/>
                </a:lnTo>
                <a:lnTo>
                  <a:pt x="9289706" y="3095018"/>
                </a:lnTo>
                <a:lnTo>
                  <a:pt x="9289706" y="6068277"/>
                </a:lnTo>
                <a:lnTo>
                  <a:pt x="9065068" y="6188157"/>
                </a:lnTo>
                <a:cubicBezTo>
                  <a:pt x="8986809" y="6227286"/>
                  <a:pt x="8905698" y="6265307"/>
                  <a:pt x="8822053" y="6302060"/>
                </a:cubicBezTo>
                <a:lnTo>
                  <a:pt x="7625671" y="6825477"/>
                </a:lnTo>
                <a:lnTo>
                  <a:pt x="1098796" y="6825477"/>
                </a:lnTo>
                <a:lnTo>
                  <a:pt x="6049082" y="4715332"/>
                </a:lnTo>
                <a:lnTo>
                  <a:pt x="0" y="1889132"/>
                </a:lnTo>
                <a:close/>
              </a:path>
            </a:pathLst>
          </a:custGeom>
          <a:solidFill>
            <a:schemeClr val="bg1">
              <a:lumMod val="85000"/>
            </a:schemeClr>
          </a:solidFill>
        </p:spPr>
        <p:txBody>
          <a:bodyPr wrap="square" lIns="1440000" tIns="144000" anchor="t" anchorCtr="0">
            <a:noAutofit/>
          </a:bodyPr>
          <a:lstStyle>
            <a:lvl1pPr>
              <a:spcBef>
                <a:spcPts val="0"/>
              </a:spcBef>
              <a:defRPr sz="800" b="0" i="0">
                <a:solidFill>
                  <a:schemeClr val="tx1"/>
                </a:solidFill>
                <a:latin typeface="+mn-lt"/>
              </a:defRPr>
            </a:lvl1pPr>
            <a:lvl2pPr>
              <a:spcBef>
                <a:spcPts val="0"/>
              </a:spcBef>
              <a:spcAft>
                <a:spcPts val="0"/>
              </a:spcAft>
              <a:defRPr sz="100" b="0" i="0">
                <a:solidFill>
                  <a:schemeClr val="bg1"/>
                </a:solidFill>
                <a:latin typeface="+mn-lt"/>
              </a:defRPr>
            </a:lvl2pPr>
            <a:lvl3pPr marL="0" indent="0">
              <a:spcBef>
                <a:spcPts val="0"/>
              </a:spcBef>
              <a:spcAft>
                <a:spcPts val="0"/>
              </a:spcAft>
              <a:buFontTx/>
              <a:buNone/>
              <a:defRPr sz="100" b="0" i="0">
                <a:solidFill>
                  <a:schemeClr val="bg1"/>
                </a:solidFill>
                <a:latin typeface="+mn-lt"/>
              </a:defRPr>
            </a:lvl3pPr>
            <a:lvl4pPr marL="0" indent="0">
              <a:lnSpc>
                <a:spcPct val="110000"/>
              </a:lnSpc>
              <a:spcBef>
                <a:spcPts val="0"/>
              </a:spcBef>
              <a:spcAft>
                <a:spcPts val="0"/>
              </a:spcAft>
              <a:buFontTx/>
              <a:buNone/>
              <a:defRPr sz="100" b="0" i="0">
                <a:solidFill>
                  <a:schemeClr val="bg1"/>
                </a:solidFill>
                <a:latin typeface="+mn-lt"/>
              </a:defRPr>
            </a:lvl4pPr>
            <a:lvl5pPr marL="0" indent="0">
              <a:lnSpc>
                <a:spcPct val="110000"/>
              </a:lnSpc>
              <a:spcBef>
                <a:spcPts val="0"/>
              </a:spcBef>
              <a:spcAft>
                <a:spcPts val="0"/>
              </a:spcAft>
              <a:buFontTx/>
              <a:buNone/>
              <a:defRPr sz="100" b="0" i="0">
                <a:solidFill>
                  <a:schemeClr val="bg1"/>
                </a:solidFill>
                <a:latin typeface="+mn-lt"/>
              </a:defRPr>
            </a:lvl5pPr>
            <a:lvl6pPr marL="0" indent="0">
              <a:lnSpc>
                <a:spcPct val="110000"/>
              </a:lnSpc>
              <a:spcBef>
                <a:spcPts val="0"/>
              </a:spcBef>
              <a:spcAft>
                <a:spcPts val="0"/>
              </a:spcAft>
              <a:buFontTx/>
              <a:buNone/>
              <a:defRPr sz="100" b="0" i="0">
                <a:solidFill>
                  <a:schemeClr val="bg1"/>
                </a:solidFill>
                <a:latin typeface="+mn-lt"/>
              </a:defRPr>
            </a:lvl6pPr>
            <a:lvl7pPr marL="0" indent="0">
              <a:lnSpc>
                <a:spcPct val="110000"/>
              </a:lnSpc>
              <a:spcBef>
                <a:spcPts val="0"/>
              </a:spcBef>
              <a:spcAft>
                <a:spcPts val="0"/>
              </a:spcAft>
              <a:buFontTx/>
              <a:buNone/>
              <a:defRPr sz="100" b="0" i="0">
                <a:solidFill>
                  <a:schemeClr val="bg1"/>
                </a:solidFill>
                <a:latin typeface="+mn-lt"/>
              </a:defRPr>
            </a:lvl7pPr>
            <a:lvl8pPr marL="0" indent="0">
              <a:lnSpc>
                <a:spcPct val="110000"/>
              </a:lnSpc>
              <a:spcBef>
                <a:spcPts val="0"/>
              </a:spcBef>
              <a:spcAft>
                <a:spcPts val="0"/>
              </a:spcAft>
              <a:buFontTx/>
              <a:buNone/>
              <a:defRPr sz="100" b="0" i="0">
                <a:solidFill>
                  <a:schemeClr val="bg1"/>
                </a:solidFill>
                <a:latin typeface="+mn-lt"/>
              </a:defRPr>
            </a:lvl8pPr>
            <a:lvl9pPr marL="0" indent="0">
              <a:lnSpc>
                <a:spcPct val="110000"/>
              </a:lnSpc>
              <a:spcBef>
                <a:spcPts val="0"/>
              </a:spcBef>
              <a:spcAft>
                <a:spcPts val="0"/>
              </a:spcAft>
              <a:buFontTx/>
              <a:buNone/>
              <a:defRPr sz="100" b="0" i="0">
                <a:solidFill>
                  <a:schemeClr val="bg1"/>
                </a:solidFill>
                <a:latin typeface="+mn-lt"/>
              </a:defRPr>
            </a:lvl9pPr>
          </a:lstStyle>
          <a:p>
            <a:r>
              <a:rPr lang="en-GB"/>
              <a:t>Image Placeholder</a:t>
            </a:r>
          </a:p>
        </p:txBody>
      </p:sp>
      <p:sp>
        <p:nvSpPr>
          <p:cNvPr id="16" name="Titel 1">
            <a:extLst>
              <a:ext uri="{FF2B5EF4-FFF2-40B4-BE49-F238E27FC236}">
                <a16:creationId xmlns:a16="http://schemas.microsoft.com/office/drawing/2014/main" id="{5B8365AC-FC82-4419-B2AA-F973FA70EF8C}"/>
              </a:ext>
            </a:extLst>
          </p:cNvPr>
          <p:cNvSpPr>
            <a:spLocks noGrp="1"/>
          </p:cNvSpPr>
          <p:nvPr>
            <p:ph type="title" hasCustomPrompt="1"/>
          </p:nvPr>
        </p:nvSpPr>
        <p:spPr bwMode="gray">
          <a:xfrm>
            <a:off x="2351088" y="3369836"/>
            <a:ext cx="3888928" cy="1296000"/>
          </a:xfrm>
        </p:spPr>
        <p:txBody>
          <a:bodyPr bIns="90000" anchor="b"/>
          <a:lstStyle>
            <a:lvl1pPr>
              <a:defRPr sz="2400"/>
            </a:lvl1pPr>
          </a:lstStyle>
          <a:p>
            <a:r>
              <a:rPr lang="en-GB"/>
              <a:t>Short Chapter description</a:t>
            </a:r>
            <a:br>
              <a:rPr lang="en-GB"/>
            </a:br>
            <a:r>
              <a:rPr lang="en-GB"/>
              <a:t>in maximum three lines.</a:t>
            </a:r>
          </a:p>
        </p:txBody>
      </p:sp>
      <p:sp>
        <p:nvSpPr>
          <p:cNvPr id="17" name="Textplatzhalter 2">
            <a:extLst>
              <a:ext uri="{FF2B5EF4-FFF2-40B4-BE49-F238E27FC236}">
                <a16:creationId xmlns:a16="http://schemas.microsoft.com/office/drawing/2014/main" id="{510B0F67-21B7-441C-B420-89F06FA28419}"/>
              </a:ext>
            </a:extLst>
          </p:cNvPr>
          <p:cNvSpPr>
            <a:spLocks noGrp="1"/>
          </p:cNvSpPr>
          <p:nvPr>
            <p:ph type="body" idx="1" hasCustomPrompt="1"/>
          </p:nvPr>
        </p:nvSpPr>
        <p:spPr bwMode="gray">
          <a:xfrm>
            <a:off x="2351584" y="4828194"/>
            <a:ext cx="3888432" cy="617030"/>
          </a:xfrm>
        </p:spPr>
        <p:txBody>
          <a:bodyPr/>
          <a:lstStyle>
            <a:lvl1pPr marL="0" indent="0">
              <a:spcBef>
                <a:spcPts val="0"/>
              </a:spcBef>
              <a:spcAft>
                <a:spcPts val="0"/>
              </a:spcAft>
              <a:buNone/>
              <a:defRPr sz="1600" b="0" i="1">
                <a:solidFill>
                  <a:srgbClr val="706F6F"/>
                </a:solidFill>
                <a:latin typeface="+mn-lt"/>
              </a:defRPr>
            </a:lvl1pPr>
            <a:lvl2pPr marL="0" indent="0">
              <a:spcBef>
                <a:spcPts val="0"/>
              </a:spcBef>
              <a:spcAft>
                <a:spcPts val="0"/>
              </a:spcAft>
              <a:buNone/>
              <a:defRPr sz="1600" b="0" i="1">
                <a:solidFill>
                  <a:srgbClr val="706F6F"/>
                </a:solidFill>
              </a:defRPr>
            </a:lvl2pPr>
            <a:lvl3pPr marL="0" indent="0">
              <a:spcBef>
                <a:spcPts val="0"/>
              </a:spcBef>
              <a:spcAft>
                <a:spcPts val="0"/>
              </a:spcAft>
              <a:buNone/>
              <a:defRPr sz="1600" b="0" i="1">
                <a:solidFill>
                  <a:srgbClr val="706F6F"/>
                </a:solidFill>
              </a:defRPr>
            </a:lvl3pPr>
            <a:lvl4pPr marL="0" indent="0">
              <a:spcBef>
                <a:spcPts val="0"/>
              </a:spcBef>
              <a:spcAft>
                <a:spcPts val="0"/>
              </a:spcAft>
              <a:buNone/>
              <a:defRPr sz="1600" b="0" i="1">
                <a:solidFill>
                  <a:srgbClr val="706F6F"/>
                </a:solidFill>
              </a:defRPr>
            </a:lvl4pPr>
            <a:lvl5pPr marL="0" indent="0">
              <a:spcBef>
                <a:spcPts val="0"/>
              </a:spcBef>
              <a:spcAft>
                <a:spcPts val="0"/>
              </a:spcAft>
              <a:buNone/>
              <a:defRPr sz="1600" b="0" i="1">
                <a:solidFill>
                  <a:srgbClr val="706F6F"/>
                </a:solidFill>
              </a:defRPr>
            </a:lvl5pPr>
            <a:lvl6pPr marL="0" indent="0">
              <a:spcBef>
                <a:spcPts val="0"/>
              </a:spcBef>
              <a:spcAft>
                <a:spcPts val="0"/>
              </a:spcAft>
              <a:buNone/>
              <a:defRPr sz="1600" b="0" i="1">
                <a:solidFill>
                  <a:srgbClr val="706F6F"/>
                </a:solidFill>
              </a:defRPr>
            </a:lvl6pPr>
            <a:lvl7pPr marL="0" indent="0">
              <a:spcBef>
                <a:spcPts val="0"/>
              </a:spcBef>
              <a:spcAft>
                <a:spcPts val="0"/>
              </a:spcAft>
              <a:buNone/>
              <a:defRPr sz="1600" b="0" i="1">
                <a:solidFill>
                  <a:srgbClr val="706F6F"/>
                </a:solidFill>
              </a:defRPr>
            </a:lvl7pPr>
            <a:lvl8pPr marL="0" indent="0">
              <a:spcBef>
                <a:spcPts val="0"/>
              </a:spcBef>
              <a:spcAft>
                <a:spcPts val="0"/>
              </a:spcAft>
              <a:buNone/>
              <a:defRPr sz="1600" b="0" i="1">
                <a:solidFill>
                  <a:srgbClr val="706F6F"/>
                </a:solidFill>
              </a:defRPr>
            </a:lvl8pPr>
            <a:lvl9pPr marL="0" indent="0">
              <a:spcBef>
                <a:spcPts val="0"/>
              </a:spcBef>
              <a:spcAft>
                <a:spcPts val="0"/>
              </a:spcAft>
              <a:buNone/>
              <a:defRPr sz="1600" b="0" i="1">
                <a:solidFill>
                  <a:srgbClr val="706F6F"/>
                </a:solidFill>
              </a:defRPr>
            </a:lvl9pPr>
          </a:lstStyle>
          <a:p>
            <a:r>
              <a:rPr lang="en-GB"/>
              <a:t>Optional Chapter Subheading or short </a:t>
            </a:r>
            <a:br>
              <a:rPr lang="en-GB"/>
            </a:br>
            <a:r>
              <a:rPr lang="en-GB"/>
              <a:t>Chapter description.</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18" name="Textplatzhalter 2">
            <a:extLst>
              <a:ext uri="{FF2B5EF4-FFF2-40B4-BE49-F238E27FC236}">
                <a16:creationId xmlns:a16="http://schemas.microsoft.com/office/drawing/2014/main" id="{DBC2DCE1-3848-4649-88F3-8758A7D7D6F8}"/>
              </a:ext>
            </a:extLst>
          </p:cNvPr>
          <p:cNvSpPr>
            <a:spLocks noGrp="1"/>
          </p:cNvSpPr>
          <p:nvPr>
            <p:ph type="body" idx="13" hasCustomPrompt="1"/>
          </p:nvPr>
        </p:nvSpPr>
        <p:spPr bwMode="gray">
          <a:xfrm>
            <a:off x="623082" y="3748074"/>
            <a:ext cx="1080120" cy="864096"/>
          </a:xfrm>
        </p:spPr>
        <p:txBody>
          <a:bodyPr/>
          <a:lstStyle>
            <a:lvl1pPr marL="0" indent="0" algn="r">
              <a:spcBef>
                <a:spcPts val="0"/>
              </a:spcBef>
              <a:spcAft>
                <a:spcPts val="600"/>
              </a:spcAft>
              <a:buNone/>
              <a:defRPr sz="6000" b="1">
                <a:solidFill>
                  <a:schemeClr val="tx1"/>
                </a:solidFill>
                <a:latin typeface="+mn-lt"/>
              </a:defRPr>
            </a:lvl1pPr>
            <a:lvl2pPr marL="0" indent="0" algn="r">
              <a:spcBef>
                <a:spcPts val="0"/>
              </a:spcBef>
              <a:spcAft>
                <a:spcPts val="0"/>
              </a:spcAft>
              <a:buNone/>
              <a:defRPr sz="6000" b="1" i="0">
                <a:solidFill>
                  <a:schemeClr val="tx1"/>
                </a:solidFill>
              </a:defRPr>
            </a:lvl2pPr>
            <a:lvl3pPr marL="0" indent="0" algn="r">
              <a:spcBef>
                <a:spcPts val="0"/>
              </a:spcBef>
              <a:spcAft>
                <a:spcPts val="0"/>
              </a:spcAft>
              <a:buNone/>
              <a:defRPr sz="6000" b="1" i="0">
                <a:solidFill>
                  <a:schemeClr val="tx1"/>
                </a:solidFill>
              </a:defRPr>
            </a:lvl3pPr>
            <a:lvl4pPr marL="0" indent="0" algn="r">
              <a:spcBef>
                <a:spcPts val="0"/>
              </a:spcBef>
              <a:spcAft>
                <a:spcPts val="0"/>
              </a:spcAft>
              <a:buNone/>
              <a:defRPr sz="6000" b="1" i="0">
                <a:solidFill>
                  <a:schemeClr val="tx1"/>
                </a:solidFill>
              </a:defRPr>
            </a:lvl4pPr>
            <a:lvl5pPr marL="0" indent="0" algn="r">
              <a:spcBef>
                <a:spcPts val="0"/>
              </a:spcBef>
              <a:spcAft>
                <a:spcPts val="0"/>
              </a:spcAft>
              <a:buNone/>
              <a:defRPr sz="6000" b="1" i="0">
                <a:solidFill>
                  <a:schemeClr val="tx1"/>
                </a:solidFill>
              </a:defRPr>
            </a:lvl5pPr>
            <a:lvl6pPr marL="0" indent="0" algn="r">
              <a:spcBef>
                <a:spcPts val="0"/>
              </a:spcBef>
              <a:spcAft>
                <a:spcPts val="0"/>
              </a:spcAft>
              <a:buNone/>
              <a:defRPr sz="6000" b="1" i="0">
                <a:solidFill>
                  <a:schemeClr val="tx1"/>
                </a:solidFill>
              </a:defRPr>
            </a:lvl6pPr>
            <a:lvl7pPr marL="0" indent="0" algn="r">
              <a:spcBef>
                <a:spcPts val="0"/>
              </a:spcBef>
              <a:spcAft>
                <a:spcPts val="0"/>
              </a:spcAft>
              <a:buNone/>
              <a:defRPr sz="6000" b="1" i="0">
                <a:solidFill>
                  <a:schemeClr val="tx1"/>
                </a:solidFill>
              </a:defRPr>
            </a:lvl7pPr>
            <a:lvl8pPr marL="0" indent="0" algn="r">
              <a:spcBef>
                <a:spcPts val="0"/>
              </a:spcBef>
              <a:spcAft>
                <a:spcPts val="0"/>
              </a:spcAft>
              <a:buNone/>
              <a:defRPr sz="6000" b="1" i="0">
                <a:solidFill>
                  <a:schemeClr val="tx1"/>
                </a:solidFill>
              </a:defRPr>
            </a:lvl8pPr>
            <a:lvl9pPr marL="0" indent="0" algn="r">
              <a:spcBef>
                <a:spcPts val="0"/>
              </a:spcBef>
              <a:spcAft>
                <a:spcPts val="0"/>
              </a:spcAft>
              <a:buNone/>
              <a:defRPr sz="6000" b="1" i="0">
                <a:solidFill>
                  <a:schemeClr val="tx1"/>
                </a:solidFill>
              </a:defRPr>
            </a:lvl9pPr>
          </a:lstStyle>
          <a:p>
            <a:r>
              <a:rPr lang="en-GB"/>
              <a:t>00</a:t>
            </a:r>
          </a:p>
        </p:txBody>
      </p:sp>
    </p:spTree>
    <p:extLst>
      <p:ext uri="{BB962C8B-B14F-4D97-AF65-F5344CB8AC3E}">
        <p14:creationId xmlns:p14="http://schemas.microsoft.com/office/powerpoint/2010/main" val="300344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840" userDrawn="1">
          <p15:clr>
            <a:srgbClr val="5ACBF0"/>
          </p15:clr>
        </p15:guide>
        <p15:guide id="2" orient="horz" pos="3158" userDrawn="1">
          <p15:clr>
            <a:srgbClr val="5ACBF0"/>
          </p15:clr>
        </p15:guide>
        <p15:guide id="3" pos="1481"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I Sublin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a:t>Heading </a:t>
            </a:r>
            <a:br>
              <a:rPr lang="en-GB"/>
            </a:br>
            <a:r>
              <a:rPr lang="en-GB"/>
              <a:t>in two lines. </a:t>
            </a:r>
          </a:p>
        </p:txBody>
      </p:sp>
      <p:sp>
        <p:nvSpPr>
          <p:cNvPr id="4" name="Fußzeilenplatzhalter 3"/>
          <p:cNvSpPr>
            <a:spLocks noGrp="1"/>
          </p:cNvSpPr>
          <p:nvPr>
            <p:ph type="ftr" sz="quarter" idx="11"/>
          </p:nvPr>
        </p:nvSpPr>
        <p:spPr bwMode="gray"/>
        <p:txBody>
          <a:bodyPr/>
          <a:lstStyle/>
          <a:p>
            <a:r>
              <a:rPr lang="en-GB"/>
              <a:t>Green Gantry</a:t>
            </a:r>
            <a:endParaRPr lang="en-GB" i="1"/>
          </a:p>
        </p:txBody>
      </p:sp>
      <p:sp>
        <p:nvSpPr>
          <p:cNvPr id="5" name="Foliennummernplatzhalter 4"/>
          <p:cNvSpPr>
            <a:spLocks noGrp="1"/>
          </p:cNvSpPr>
          <p:nvPr>
            <p:ph type="sldNum" sz="quarter" idx="12"/>
          </p:nvPr>
        </p:nvSpPr>
        <p:spPr bwMode="gray"/>
        <p:txBody>
          <a:bodyPr/>
          <a:lstStyle/>
          <a:p>
            <a:fld id="{8FF9B0DE-3FEB-4AA0-B465-B80EF7C1333D}" type="slidenum">
              <a:rPr lang="en-GB" smtClean="0"/>
              <a:t>‹Nr.›</a:t>
            </a:fld>
            <a:endParaRPr lang="en-GB"/>
          </a:p>
        </p:txBody>
      </p:sp>
      <p:sp>
        <p:nvSpPr>
          <p:cNvPr id="7" name="Textplatzhalter 9"/>
          <p:cNvSpPr>
            <a:spLocks noGrp="1"/>
          </p:cNvSpPr>
          <p:nvPr>
            <p:ph type="body" sz="quarter" idx="14" hasCustomPrompt="1"/>
          </p:nvPr>
        </p:nvSpPr>
        <p:spPr bwMode="gray">
          <a:xfrm>
            <a:off x="334964" y="1124759"/>
            <a:ext cx="7561233" cy="288116"/>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pPr lvl="0"/>
            <a:r>
              <a:rPr lang="en-GB"/>
              <a:t>Optional Subheading in one line.</a:t>
            </a:r>
          </a:p>
        </p:txBody>
      </p:sp>
      <p:grpSp>
        <p:nvGrpSpPr>
          <p:cNvPr id="6" name="Gruppieren 5">
            <a:extLst>
              <a:ext uri="{FF2B5EF4-FFF2-40B4-BE49-F238E27FC236}">
                <a16:creationId xmlns:a16="http://schemas.microsoft.com/office/drawing/2014/main" id="{ECDB737C-A8BC-4B29-86E4-F0D14B4409D3}"/>
              </a:ext>
            </a:extLst>
          </p:cNvPr>
          <p:cNvGrpSpPr/>
          <p:nvPr userDrawn="1"/>
        </p:nvGrpSpPr>
        <p:grpSpPr bwMode="gray">
          <a:xfrm>
            <a:off x="-168688" y="1700808"/>
            <a:ext cx="72000" cy="4824536"/>
            <a:chOff x="-456728" y="1700808"/>
            <a:chExt cx="216000" cy="4824536"/>
          </a:xfrm>
        </p:grpSpPr>
        <p:cxnSp>
          <p:nvCxnSpPr>
            <p:cNvPr id="8" name="Gerader Verbinder 7">
              <a:extLst>
                <a:ext uri="{FF2B5EF4-FFF2-40B4-BE49-F238E27FC236}">
                  <a16:creationId xmlns:a16="http://schemas.microsoft.com/office/drawing/2014/main" id="{1DD22856-99FB-49B2-8834-2987868AC9BF}"/>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0EBE7FD3-FDF1-404B-8C87-8731C56061DD}"/>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0" name="Gerader Verbinder 9">
            <a:extLst>
              <a:ext uri="{FF2B5EF4-FFF2-40B4-BE49-F238E27FC236}">
                <a16:creationId xmlns:a16="http://schemas.microsoft.com/office/drawing/2014/main" id="{9982362E-5B89-4669-98CE-660C38A480B9}"/>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725622A3-24B0-47C8-B384-417CE8F7E3DA}"/>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D4D1CAD-FF1E-49D8-94CB-4E91B0F352F5}"/>
              </a:ext>
            </a:extLst>
          </p:cNvPr>
          <p:cNvSpPr txBox="1"/>
          <p:nvPr userDrawn="1"/>
        </p:nvSpPr>
        <p:spPr bwMode="gray">
          <a:xfrm>
            <a:off x="-1427636" y="188640"/>
            <a:ext cx="1227414" cy="246221"/>
          </a:xfrm>
          <a:prstGeom prst="rect">
            <a:avLst/>
          </a:prstGeom>
          <a:noFill/>
        </p:spPr>
        <p:txBody>
          <a:bodyPr wrap="square">
            <a:spAutoFit/>
          </a:bodyPr>
          <a:lstStyle/>
          <a:p>
            <a:pPr algn="r"/>
            <a:r>
              <a:rPr lang="en-GB" sz="1000"/>
              <a:t>Headline</a:t>
            </a:r>
          </a:p>
        </p:txBody>
      </p:sp>
      <p:sp>
        <p:nvSpPr>
          <p:cNvPr id="13" name="Textfeld 12">
            <a:extLst>
              <a:ext uri="{FF2B5EF4-FFF2-40B4-BE49-F238E27FC236}">
                <a16:creationId xmlns:a16="http://schemas.microsoft.com/office/drawing/2014/main" id="{1883A1A5-F887-4C8E-A8D9-8A3D7F703C23}"/>
              </a:ext>
            </a:extLst>
          </p:cNvPr>
          <p:cNvSpPr txBox="1"/>
          <p:nvPr userDrawn="1"/>
        </p:nvSpPr>
        <p:spPr bwMode="gray">
          <a:xfrm>
            <a:off x="-1427636" y="980728"/>
            <a:ext cx="1227414" cy="246221"/>
          </a:xfrm>
          <a:prstGeom prst="rect">
            <a:avLst/>
          </a:prstGeom>
          <a:noFill/>
        </p:spPr>
        <p:txBody>
          <a:bodyPr wrap="square">
            <a:spAutoFit/>
          </a:bodyPr>
          <a:lstStyle/>
          <a:p>
            <a:pPr algn="r"/>
            <a:r>
              <a:rPr lang="en-GB" sz="1000"/>
              <a:t>Subline</a:t>
            </a:r>
          </a:p>
        </p:txBody>
      </p:sp>
      <p:sp>
        <p:nvSpPr>
          <p:cNvPr id="14" name="Textfeld 13">
            <a:extLst>
              <a:ext uri="{FF2B5EF4-FFF2-40B4-BE49-F238E27FC236}">
                <a16:creationId xmlns:a16="http://schemas.microsoft.com/office/drawing/2014/main" id="{47D3987A-AE65-4A21-92A6-1304924C947F}"/>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a:t>Content</a:t>
            </a:r>
          </a:p>
        </p:txBody>
      </p:sp>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15:guide id="1" orient="horz" pos="1071" userDrawn="1">
          <p15:clr>
            <a:srgbClr val="5ACBF0"/>
          </p15:clr>
        </p15:guide>
        <p15:guide id="2" orient="horz" pos="709"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I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4963" y="1700212"/>
            <a:ext cx="11522075" cy="4824462"/>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10" name="Textplatzhalter 9"/>
          <p:cNvSpPr>
            <a:spLocks noGrp="1"/>
          </p:cNvSpPr>
          <p:nvPr>
            <p:ph type="body" sz="quarter" idx="14" hasCustomPrompt="1"/>
          </p:nvPr>
        </p:nvSpPr>
        <p:spPr bwMode="gray">
          <a:xfrm>
            <a:off x="334964" y="1125537"/>
            <a:ext cx="7561234" cy="287338"/>
          </a:xfrm>
        </p:spPr>
        <p:txBody>
          <a:bodyPr/>
          <a:lstStyle>
            <a:lvl1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1pPr>
            <a:lvl2pPr marL="0" indent="0">
              <a:lnSpc>
                <a:spcPct val="100000"/>
              </a:lnSpc>
              <a:spcBef>
                <a:spcPts val="0"/>
              </a:spcBef>
              <a:spcAft>
                <a:spcPts val="0"/>
              </a:spcAft>
              <a:buFont typeface="Arial" panose="020B0604020202020204" pitchFamily="34" charset="0"/>
              <a:buNone/>
              <a:defRPr sz="1600" b="0" i="1">
                <a:solidFill>
                  <a:srgbClr val="706F6F"/>
                </a:solidFill>
                <a:latin typeface="+mn-lt"/>
              </a:defRPr>
            </a:lvl2pPr>
            <a:lvl3pPr marL="0" indent="0">
              <a:lnSpc>
                <a:spcPct val="100000"/>
              </a:lnSpc>
              <a:spcBef>
                <a:spcPts val="0"/>
              </a:spcBef>
              <a:spcAft>
                <a:spcPts val="0"/>
              </a:spcAft>
              <a:buNone/>
              <a:defRPr sz="1600" b="0" i="1">
                <a:solidFill>
                  <a:srgbClr val="706F6F"/>
                </a:solidFill>
                <a:latin typeface="+mn-lt"/>
              </a:defRPr>
            </a:lvl3pPr>
            <a:lvl4pPr marL="0" indent="0">
              <a:lnSpc>
                <a:spcPct val="100000"/>
              </a:lnSpc>
              <a:spcBef>
                <a:spcPts val="0"/>
              </a:spcBef>
              <a:spcAft>
                <a:spcPts val="0"/>
              </a:spcAft>
              <a:buNone/>
              <a:defRPr sz="1600" b="0" i="1">
                <a:solidFill>
                  <a:srgbClr val="706F6F"/>
                </a:solidFill>
                <a:latin typeface="+mn-lt"/>
              </a:defRPr>
            </a:lvl4pPr>
            <a:lvl5pPr marL="0" indent="0">
              <a:lnSpc>
                <a:spcPct val="100000"/>
              </a:lnSpc>
              <a:spcBef>
                <a:spcPts val="0"/>
              </a:spcBef>
              <a:spcAft>
                <a:spcPts val="0"/>
              </a:spcAft>
              <a:buNone/>
              <a:defRPr sz="1600" b="0" i="1">
                <a:solidFill>
                  <a:srgbClr val="706F6F"/>
                </a:solidFill>
                <a:latin typeface="+mn-lt"/>
              </a:defRPr>
            </a:lvl5pPr>
            <a:lvl6pPr marL="0" indent="0">
              <a:lnSpc>
                <a:spcPct val="100000"/>
              </a:lnSpc>
              <a:spcBef>
                <a:spcPts val="0"/>
              </a:spcBef>
              <a:spcAft>
                <a:spcPts val="0"/>
              </a:spcAft>
              <a:buNone/>
              <a:defRPr sz="1600" b="0" i="1">
                <a:solidFill>
                  <a:srgbClr val="706F6F"/>
                </a:solidFill>
                <a:latin typeface="+mn-lt"/>
              </a:defRPr>
            </a:lvl6pPr>
            <a:lvl7pPr marL="0" indent="0">
              <a:lnSpc>
                <a:spcPct val="100000"/>
              </a:lnSpc>
              <a:spcBef>
                <a:spcPts val="0"/>
              </a:spcBef>
              <a:spcAft>
                <a:spcPts val="0"/>
              </a:spcAft>
              <a:buNone/>
              <a:defRPr sz="1600" b="0" i="1">
                <a:solidFill>
                  <a:srgbClr val="706F6F"/>
                </a:solidFill>
                <a:latin typeface="+mn-lt"/>
              </a:defRPr>
            </a:lvl7pPr>
            <a:lvl8pPr marL="0" indent="0">
              <a:lnSpc>
                <a:spcPct val="100000"/>
              </a:lnSpc>
              <a:spcBef>
                <a:spcPts val="0"/>
              </a:spcBef>
              <a:spcAft>
                <a:spcPts val="0"/>
              </a:spcAft>
              <a:buNone/>
              <a:defRPr sz="1600" b="0" i="1">
                <a:solidFill>
                  <a:srgbClr val="706F6F"/>
                </a:solidFill>
                <a:latin typeface="+mn-lt"/>
              </a:defRPr>
            </a:lvl8pPr>
            <a:lvl9pPr marL="0" indent="0">
              <a:lnSpc>
                <a:spcPct val="100000"/>
              </a:lnSpc>
              <a:spcBef>
                <a:spcPts val="0"/>
              </a:spcBef>
              <a:spcAft>
                <a:spcPts val="0"/>
              </a:spcAft>
              <a:buNone/>
              <a:defRPr sz="1600" b="0" i="1">
                <a:solidFill>
                  <a:srgbClr val="706F6F"/>
                </a:solidFill>
                <a:latin typeface="+mn-lt"/>
              </a:defRPr>
            </a:lvl9pPr>
          </a:lstStyle>
          <a:p>
            <a:pPr lvl="0"/>
            <a:r>
              <a:rPr lang="en-GB"/>
              <a:t>Optional Subheading in one line.</a:t>
            </a:r>
          </a:p>
        </p:txBody>
      </p:sp>
      <p:sp>
        <p:nvSpPr>
          <p:cNvPr id="2" name="Fußzeilenplatzhalter 1">
            <a:extLst>
              <a:ext uri="{FF2B5EF4-FFF2-40B4-BE49-F238E27FC236}">
                <a16:creationId xmlns:a16="http://schemas.microsoft.com/office/drawing/2014/main" id="{FB5D6119-3029-4DB0-8934-08002DD1CD3B}"/>
              </a:ext>
            </a:extLst>
          </p:cNvPr>
          <p:cNvSpPr>
            <a:spLocks noGrp="1"/>
          </p:cNvSpPr>
          <p:nvPr>
            <p:ph type="ftr" sz="quarter" idx="16"/>
          </p:nvPr>
        </p:nvSpPr>
        <p:spPr bwMode="gray"/>
        <p:txBody>
          <a:bodyPr/>
          <a:lstStyle/>
          <a:p>
            <a:r>
              <a:rPr lang="en-GB"/>
              <a:t>Green Gantry</a:t>
            </a:r>
            <a:endParaRPr lang="en-GB" i="1"/>
          </a:p>
        </p:txBody>
      </p:sp>
      <p:sp>
        <p:nvSpPr>
          <p:cNvPr id="7" name="Foliennummernplatzhalter 6">
            <a:extLst>
              <a:ext uri="{FF2B5EF4-FFF2-40B4-BE49-F238E27FC236}">
                <a16:creationId xmlns:a16="http://schemas.microsoft.com/office/drawing/2014/main" id="{41614B98-AEAD-4422-B145-4BFF955DB25E}"/>
              </a:ext>
            </a:extLst>
          </p:cNvPr>
          <p:cNvSpPr>
            <a:spLocks noGrp="1"/>
          </p:cNvSpPr>
          <p:nvPr>
            <p:ph type="sldNum" sz="quarter" idx="17"/>
          </p:nvPr>
        </p:nvSpPr>
        <p:spPr bwMode="gray"/>
        <p:txBody>
          <a:bodyPr/>
          <a:lstStyle/>
          <a:p>
            <a:fld id="{8FF9B0DE-3FEB-4AA0-B465-B80EF7C1333D}" type="slidenum">
              <a:rPr lang="en-GB" smtClean="0"/>
              <a:pPr/>
              <a:t>‹Nr.›</a:t>
            </a:fld>
            <a:endParaRPr lang="en-GB" i="1"/>
          </a:p>
        </p:txBody>
      </p:sp>
      <p:sp>
        <p:nvSpPr>
          <p:cNvPr id="13" name="Titel 12">
            <a:extLst>
              <a:ext uri="{FF2B5EF4-FFF2-40B4-BE49-F238E27FC236}">
                <a16:creationId xmlns:a16="http://schemas.microsoft.com/office/drawing/2014/main" id="{433A7838-F17D-427E-A85B-232944CC2805}"/>
              </a:ext>
            </a:extLst>
          </p:cNvPr>
          <p:cNvSpPr>
            <a:spLocks noGrp="1"/>
          </p:cNvSpPr>
          <p:nvPr>
            <p:ph type="title" hasCustomPrompt="1"/>
          </p:nvPr>
        </p:nvSpPr>
        <p:spPr bwMode="gray"/>
        <p:txBody>
          <a:bodyPr/>
          <a:lstStyle>
            <a:lvl1pPr>
              <a:defRPr/>
            </a:lvl1pPr>
          </a:lstStyle>
          <a:p>
            <a:r>
              <a:rPr lang="en-GB"/>
              <a:t>Heading </a:t>
            </a:r>
            <a:br>
              <a:rPr lang="en-GB"/>
            </a:br>
            <a:r>
              <a:rPr lang="en-GB"/>
              <a:t>in two lines. </a:t>
            </a:r>
          </a:p>
        </p:txBody>
      </p:sp>
      <p:grpSp>
        <p:nvGrpSpPr>
          <p:cNvPr id="8" name="Gruppieren 7">
            <a:extLst>
              <a:ext uri="{FF2B5EF4-FFF2-40B4-BE49-F238E27FC236}">
                <a16:creationId xmlns:a16="http://schemas.microsoft.com/office/drawing/2014/main" id="{CF84EEA0-E06A-4CBF-886B-89EF490D7478}"/>
              </a:ext>
            </a:extLst>
          </p:cNvPr>
          <p:cNvGrpSpPr/>
          <p:nvPr userDrawn="1"/>
        </p:nvGrpSpPr>
        <p:grpSpPr bwMode="gray">
          <a:xfrm>
            <a:off x="-168688" y="1700808"/>
            <a:ext cx="72000" cy="4824536"/>
            <a:chOff x="-456728" y="1700808"/>
            <a:chExt cx="216000" cy="4824536"/>
          </a:xfrm>
        </p:grpSpPr>
        <p:cxnSp>
          <p:nvCxnSpPr>
            <p:cNvPr id="9" name="Gerader Verbinder 8">
              <a:extLst>
                <a:ext uri="{FF2B5EF4-FFF2-40B4-BE49-F238E27FC236}">
                  <a16:creationId xmlns:a16="http://schemas.microsoft.com/office/drawing/2014/main" id="{4D4A2007-52C5-4657-87B9-6789256FBA4E}"/>
                </a:ext>
              </a:extLst>
            </p:cNvPr>
            <p:cNvCxnSpPr/>
            <p:nvPr userDrawn="1"/>
          </p:nvCxnSpPr>
          <p:spPr bwMode="gray">
            <a:xfrm>
              <a:off x="-456728" y="170080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9B087E95-D000-48AF-A764-237225037FC2}"/>
                </a:ext>
              </a:extLst>
            </p:cNvPr>
            <p:cNvCxnSpPr/>
            <p:nvPr userDrawn="1"/>
          </p:nvCxnSpPr>
          <p:spPr bwMode="gray">
            <a:xfrm>
              <a:off x="-456728" y="652534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 name="Gerader Verbinder 11">
            <a:extLst>
              <a:ext uri="{FF2B5EF4-FFF2-40B4-BE49-F238E27FC236}">
                <a16:creationId xmlns:a16="http://schemas.microsoft.com/office/drawing/2014/main" id="{28E5D272-0F06-4A3B-8A50-496F4CEEE206}"/>
              </a:ext>
            </a:extLst>
          </p:cNvPr>
          <p:cNvCxnSpPr/>
          <p:nvPr userDrawn="1"/>
        </p:nvCxnSpPr>
        <p:spPr bwMode="gray">
          <a:xfrm>
            <a:off x="-168696" y="1124744"/>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B51638C-E305-4FE9-AD6D-25EA458A45A1}"/>
              </a:ext>
            </a:extLst>
          </p:cNvPr>
          <p:cNvCxnSpPr/>
          <p:nvPr userDrawn="1"/>
        </p:nvCxnSpPr>
        <p:spPr bwMode="gray">
          <a:xfrm>
            <a:off x="-168696" y="332656"/>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CE29064D-FA22-47F7-9D9D-4F376B138EB0}"/>
              </a:ext>
            </a:extLst>
          </p:cNvPr>
          <p:cNvSpPr txBox="1"/>
          <p:nvPr userDrawn="1"/>
        </p:nvSpPr>
        <p:spPr bwMode="gray">
          <a:xfrm>
            <a:off x="-1427636" y="188640"/>
            <a:ext cx="1227414" cy="246221"/>
          </a:xfrm>
          <a:prstGeom prst="rect">
            <a:avLst/>
          </a:prstGeom>
          <a:noFill/>
        </p:spPr>
        <p:txBody>
          <a:bodyPr wrap="square">
            <a:spAutoFit/>
          </a:bodyPr>
          <a:lstStyle/>
          <a:p>
            <a:pPr algn="r"/>
            <a:r>
              <a:rPr lang="en-GB" sz="1000"/>
              <a:t>Headline</a:t>
            </a:r>
          </a:p>
        </p:txBody>
      </p:sp>
      <p:sp>
        <p:nvSpPr>
          <p:cNvPr id="16" name="Textfeld 15">
            <a:extLst>
              <a:ext uri="{FF2B5EF4-FFF2-40B4-BE49-F238E27FC236}">
                <a16:creationId xmlns:a16="http://schemas.microsoft.com/office/drawing/2014/main" id="{869339E6-353C-463B-8701-060CB6CD1730}"/>
              </a:ext>
            </a:extLst>
          </p:cNvPr>
          <p:cNvSpPr txBox="1"/>
          <p:nvPr userDrawn="1"/>
        </p:nvSpPr>
        <p:spPr bwMode="gray">
          <a:xfrm>
            <a:off x="-1427636" y="980728"/>
            <a:ext cx="1227414" cy="246221"/>
          </a:xfrm>
          <a:prstGeom prst="rect">
            <a:avLst/>
          </a:prstGeom>
          <a:noFill/>
        </p:spPr>
        <p:txBody>
          <a:bodyPr wrap="square">
            <a:spAutoFit/>
          </a:bodyPr>
          <a:lstStyle/>
          <a:p>
            <a:pPr algn="r"/>
            <a:r>
              <a:rPr lang="en-GB" sz="1000"/>
              <a:t>Subline</a:t>
            </a:r>
          </a:p>
        </p:txBody>
      </p:sp>
      <p:sp>
        <p:nvSpPr>
          <p:cNvPr id="18" name="Textfeld 17">
            <a:extLst>
              <a:ext uri="{FF2B5EF4-FFF2-40B4-BE49-F238E27FC236}">
                <a16:creationId xmlns:a16="http://schemas.microsoft.com/office/drawing/2014/main" id="{58EC9179-51D7-4F3D-947C-781620B4007E}"/>
              </a:ext>
            </a:extLst>
          </p:cNvPr>
          <p:cNvSpPr txBox="1"/>
          <p:nvPr userDrawn="1"/>
        </p:nvSpPr>
        <p:spPr bwMode="gray">
          <a:xfrm>
            <a:off x="-1427636" y="1556792"/>
            <a:ext cx="1227414" cy="246221"/>
          </a:xfrm>
          <a:prstGeom prst="rect">
            <a:avLst/>
          </a:prstGeom>
          <a:noFill/>
        </p:spPr>
        <p:txBody>
          <a:bodyPr wrap="square">
            <a:spAutoFit/>
          </a:bodyPr>
          <a:lstStyle/>
          <a:p>
            <a:pPr algn="r"/>
            <a:r>
              <a:rPr lang="en-GB" sz="1000"/>
              <a:t>Content</a:t>
            </a:r>
          </a:p>
        </p:txBody>
      </p:sp>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15:guide id="1" orient="horz" pos="1071" userDrawn="1">
          <p15:clr>
            <a:srgbClr val="5ACBF0"/>
          </p15:clr>
        </p15:guide>
        <p15:guide id="2" orient="horz" pos="709"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9" name="Gruppieren 58">
            <a:extLst>
              <a:ext uri="{FF2B5EF4-FFF2-40B4-BE49-F238E27FC236}">
                <a16:creationId xmlns:a16="http://schemas.microsoft.com/office/drawing/2014/main" id="{F8C35FE4-6C71-423C-9119-467BFFC7A0BB}"/>
              </a:ext>
            </a:extLst>
          </p:cNvPr>
          <p:cNvGrpSpPr/>
          <p:nvPr userDrawn="1"/>
        </p:nvGrpSpPr>
        <p:grpSpPr bwMode="gray">
          <a:xfrm>
            <a:off x="335360" y="-171400"/>
            <a:ext cx="11521184" cy="72000"/>
            <a:chOff x="335360" y="-243408"/>
            <a:chExt cx="11521184" cy="72000"/>
          </a:xfrm>
        </p:grpSpPr>
        <p:sp>
          <p:nvSpPr>
            <p:cNvPr id="39" name="Rechteck 38">
              <a:extLst>
                <a:ext uri="{FF2B5EF4-FFF2-40B4-BE49-F238E27FC236}">
                  <a16:creationId xmlns:a16="http://schemas.microsoft.com/office/drawing/2014/main" id="{89BDD1C9-5658-49C3-9234-FC9D29572476}"/>
                </a:ext>
              </a:extLst>
            </p:cNvPr>
            <p:cNvSpPr/>
            <p:nvPr userDrawn="1"/>
          </p:nvSpPr>
          <p:spPr bwMode="gray">
            <a:xfrm>
              <a:off x="624001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0" name="Rechteck 39">
              <a:extLst>
                <a:ext uri="{FF2B5EF4-FFF2-40B4-BE49-F238E27FC236}">
                  <a16:creationId xmlns:a16="http://schemas.microsoft.com/office/drawing/2014/main" id="{737088A5-7167-4A6A-9F7C-C378C11F0BA5}"/>
                </a:ext>
              </a:extLst>
            </p:cNvPr>
            <p:cNvSpPr/>
            <p:nvPr userDrawn="1"/>
          </p:nvSpPr>
          <p:spPr bwMode="gray">
            <a:xfrm>
              <a:off x="717612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9" name="Rechteck 48">
              <a:extLst>
                <a:ext uri="{FF2B5EF4-FFF2-40B4-BE49-F238E27FC236}">
                  <a16:creationId xmlns:a16="http://schemas.microsoft.com/office/drawing/2014/main" id="{8AD3141A-CA44-4307-8B30-84C7530F64A8}"/>
                </a:ext>
              </a:extLst>
            </p:cNvPr>
            <p:cNvSpPr/>
            <p:nvPr userDrawn="1"/>
          </p:nvSpPr>
          <p:spPr bwMode="gray">
            <a:xfrm>
              <a:off x="429580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0" name="Rechteck 49">
              <a:extLst>
                <a:ext uri="{FF2B5EF4-FFF2-40B4-BE49-F238E27FC236}">
                  <a16:creationId xmlns:a16="http://schemas.microsoft.com/office/drawing/2014/main" id="{5755D4E6-5060-40EF-94F2-1BC74FF54250}"/>
                </a:ext>
              </a:extLst>
            </p:cNvPr>
            <p:cNvSpPr/>
            <p:nvPr userDrawn="1"/>
          </p:nvSpPr>
          <p:spPr bwMode="gray">
            <a:xfrm>
              <a:off x="523190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1" name="Rechteck 50">
              <a:extLst>
                <a:ext uri="{FF2B5EF4-FFF2-40B4-BE49-F238E27FC236}">
                  <a16:creationId xmlns:a16="http://schemas.microsoft.com/office/drawing/2014/main" id="{ED88BD87-9DC0-4DAA-8BDA-8603BAEBA8FE}"/>
                </a:ext>
              </a:extLst>
            </p:cNvPr>
            <p:cNvSpPr/>
            <p:nvPr userDrawn="1"/>
          </p:nvSpPr>
          <p:spPr bwMode="gray">
            <a:xfrm>
              <a:off x="2351584"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Rechteck 51">
              <a:extLst>
                <a:ext uri="{FF2B5EF4-FFF2-40B4-BE49-F238E27FC236}">
                  <a16:creationId xmlns:a16="http://schemas.microsoft.com/office/drawing/2014/main" id="{49DE4277-02F7-47FE-AB6C-3F19F21173C1}"/>
                </a:ext>
              </a:extLst>
            </p:cNvPr>
            <p:cNvSpPr/>
            <p:nvPr userDrawn="1"/>
          </p:nvSpPr>
          <p:spPr bwMode="gray">
            <a:xfrm>
              <a:off x="3287688"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3" name="Rechteck 52">
              <a:extLst>
                <a:ext uri="{FF2B5EF4-FFF2-40B4-BE49-F238E27FC236}">
                  <a16:creationId xmlns:a16="http://schemas.microsoft.com/office/drawing/2014/main" id="{A8A01A9A-2BB5-4EF0-A448-61000E95BA0C}"/>
                </a:ext>
              </a:extLst>
            </p:cNvPr>
            <p:cNvSpPr/>
            <p:nvPr userDrawn="1"/>
          </p:nvSpPr>
          <p:spPr bwMode="gray">
            <a:xfrm>
              <a:off x="335360"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4" name="Rechteck 53">
              <a:extLst>
                <a:ext uri="{FF2B5EF4-FFF2-40B4-BE49-F238E27FC236}">
                  <a16:creationId xmlns:a16="http://schemas.microsoft.com/office/drawing/2014/main" id="{FDD97D52-9F26-4BCF-9061-0D16D3ABD0B3}"/>
                </a:ext>
              </a:extLst>
            </p:cNvPr>
            <p:cNvSpPr/>
            <p:nvPr userDrawn="1"/>
          </p:nvSpPr>
          <p:spPr bwMode="gray">
            <a:xfrm>
              <a:off x="1415399" y="-243408"/>
              <a:ext cx="720161"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5" name="Rechteck 54">
              <a:extLst>
                <a:ext uri="{FF2B5EF4-FFF2-40B4-BE49-F238E27FC236}">
                  <a16:creationId xmlns:a16="http://schemas.microsoft.com/office/drawing/2014/main" id="{B6A25FA4-4C9F-49DC-A6BA-2FAE83D219F0}"/>
                </a:ext>
              </a:extLst>
            </p:cNvPr>
            <p:cNvSpPr/>
            <p:nvPr userDrawn="1"/>
          </p:nvSpPr>
          <p:spPr bwMode="gray">
            <a:xfrm>
              <a:off x="10056440"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6" name="Rechteck 55">
              <a:extLst>
                <a:ext uri="{FF2B5EF4-FFF2-40B4-BE49-F238E27FC236}">
                  <a16:creationId xmlns:a16="http://schemas.microsoft.com/office/drawing/2014/main" id="{3AE7D8BB-D10A-4AB5-9573-C111AFBC1036}"/>
                </a:ext>
              </a:extLst>
            </p:cNvPr>
            <p:cNvSpPr/>
            <p:nvPr userDrawn="1"/>
          </p:nvSpPr>
          <p:spPr bwMode="gray">
            <a:xfrm>
              <a:off x="8184232"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7" name="Rechteck 56">
              <a:extLst>
                <a:ext uri="{FF2B5EF4-FFF2-40B4-BE49-F238E27FC236}">
                  <a16:creationId xmlns:a16="http://schemas.microsoft.com/office/drawing/2014/main" id="{963EB217-FC71-43F2-9517-5C3E88DFD127}"/>
                </a:ext>
              </a:extLst>
            </p:cNvPr>
            <p:cNvSpPr/>
            <p:nvPr userDrawn="1"/>
          </p:nvSpPr>
          <p:spPr bwMode="gray">
            <a:xfrm>
              <a:off x="10992544" y="-243408"/>
              <a:ext cx="864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8" name="Rechteck 57">
              <a:extLst>
                <a:ext uri="{FF2B5EF4-FFF2-40B4-BE49-F238E27FC236}">
                  <a16:creationId xmlns:a16="http://schemas.microsoft.com/office/drawing/2014/main" id="{8B06BA22-861F-4ECE-835F-B60D40AFF48C}"/>
                </a:ext>
              </a:extLst>
            </p:cNvPr>
            <p:cNvSpPr/>
            <p:nvPr userDrawn="1"/>
          </p:nvSpPr>
          <p:spPr bwMode="gray">
            <a:xfrm>
              <a:off x="9120336" y="-243408"/>
              <a:ext cx="720000" cy="7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2" name="Titelplatzhalter 1"/>
          <p:cNvSpPr>
            <a:spLocks noGrp="1"/>
          </p:cNvSpPr>
          <p:nvPr>
            <p:ph type="title"/>
          </p:nvPr>
        </p:nvSpPr>
        <p:spPr bwMode="gray">
          <a:xfrm>
            <a:off x="334963" y="333375"/>
            <a:ext cx="7561234" cy="719361"/>
          </a:xfrm>
          <a:prstGeom prst="rect">
            <a:avLst/>
          </a:prstGeom>
        </p:spPr>
        <p:txBody>
          <a:bodyPr vert="horz" lIns="0" tIns="0" rIns="0" bIns="36000" rtlCol="0" anchor="b" anchorCtr="0">
            <a:noAutofit/>
          </a:bodyPr>
          <a:lstStyle/>
          <a:p>
            <a:r>
              <a:rPr lang="en-GB"/>
              <a:t>Click to edit title.</a:t>
            </a:r>
          </a:p>
        </p:txBody>
      </p:sp>
      <p:sp>
        <p:nvSpPr>
          <p:cNvPr id="3" name="Textplatzhalter 2"/>
          <p:cNvSpPr>
            <a:spLocks noGrp="1"/>
          </p:cNvSpPr>
          <p:nvPr>
            <p:ph type="body" idx="1"/>
          </p:nvPr>
        </p:nvSpPr>
        <p:spPr bwMode="gray">
          <a:xfrm>
            <a:off x="334963" y="1700214"/>
            <a:ext cx="11522071" cy="4824408"/>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200"/>
              </a:spcAft>
              <a:buClrTx/>
              <a:buSzTx/>
              <a:buFont typeface="Arial" panose="020B0604020202020204" pitchFamily="34" charset="0"/>
              <a:buNone/>
              <a:tabLst/>
              <a:defRPr/>
            </a:pPr>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gray">
          <a:xfrm>
            <a:off x="8831966" y="304475"/>
            <a:ext cx="1801058" cy="144000"/>
          </a:xfrm>
          <a:prstGeom prst="rect">
            <a:avLst/>
          </a:prstGeom>
        </p:spPr>
        <p:txBody>
          <a:bodyPr vert="horz" lIns="0" tIns="0" rIns="0" bIns="0" rtlCol="0" anchor="ctr">
            <a:noAutofit/>
          </a:bodyPr>
          <a:lstStyle>
            <a:lvl1pPr algn="r">
              <a:defRPr sz="800" i="1">
                <a:solidFill>
                  <a:schemeClr val="tx1"/>
                </a:solidFill>
              </a:defRPr>
            </a:lvl1pPr>
          </a:lstStyle>
          <a:p>
            <a:r>
              <a:rPr lang="en-GB"/>
              <a:t>Green Gantry</a:t>
            </a:r>
            <a:endParaRPr lang="en-GB" i="1"/>
          </a:p>
        </p:txBody>
      </p:sp>
      <p:sp>
        <p:nvSpPr>
          <p:cNvPr id="6" name="Foliennummernplatzhalter 5"/>
          <p:cNvSpPr>
            <a:spLocks noGrp="1"/>
          </p:cNvSpPr>
          <p:nvPr>
            <p:ph type="sldNum" sz="quarter" idx="4"/>
          </p:nvPr>
        </p:nvSpPr>
        <p:spPr bwMode="gray">
          <a:xfrm>
            <a:off x="10777040" y="304475"/>
            <a:ext cx="287512" cy="144000"/>
          </a:xfrm>
          <a:prstGeom prst="rect">
            <a:avLst/>
          </a:prstGeom>
        </p:spPr>
        <p:txBody>
          <a:bodyPr vert="horz" lIns="0" tIns="0" rIns="0" bIns="0" rtlCol="0" anchor="ctr">
            <a:noAutofit/>
          </a:bodyPr>
          <a:lstStyle>
            <a:lvl1pPr algn="l">
              <a:defRPr sz="800" i="1">
                <a:solidFill>
                  <a:schemeClr val="tx1"/>
                </a:solidFill>
              </a:defRPr>
            </a:lvl1pPr>
          </a:lstStyle>
          <a:p>
            <a:fld id="{8FF9B0DE-3FEB-4AA0-B465-B80EF7C1333D}" type="slidenum">
              <a:rPr lang="en-GB" smtClean="0"/>
              <a:pPr/>
              <a:t>‹Nr.›</a:t>
            </a:fld>
            <a:endParaRPr lang="en-GB" i="1"/>
          </a:p>
        </p:txBody>
      </p:sp>
      <p:grpSp>
        <p:nvGrpSpPr>
          <p:cNvPr id="21" name="Gruppieren 20"/>
          <p:cNvGrpSpPr/>
          <p:nvPr userDrawn="1"/>
        </p:nvGrpSpPr>
        <p:grpSpPr bwMode="gray">
          <a:xfrm>
            <a:off x="335360" y="-171400"/>
            <a:ext cx="11521280" cy="72000"/>
            <a:chOff x="335360" y="-243408"/>
            <a:chExt cx="11521280" cy="216000"/>
          </a:xfrm>
        </p:grpSpPr>
        <p:cxnSp>
          <p:nvCxnSpPr>
            <p:cNvPr id="13" name="Gerader Verbinder 12"/>
            <p:cNvCxnSpPr/>
            <p:nvPr userDrawn="1"/>
          </p:nvCxnSpPr>
          <p:spPr bwMode="gray">
            <a:xfrm>
              <a:off x="3353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8566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6" name="Textplatzhalter 45">
            <a:extLst>
              <a:ext uri="{FF2B5EF4-FFF2-40B4-BE49-F238E27FC236}">
                <a16:creationId xmlns:a16="http://schemas.microsoft.com/office/drawing/2014/main" id="{3C1B6329-FB6B-4513-A663-56B72EB1FFC0}"/>
              </a:ext>
            </a:extLst>
          </p:cNvPr>
          <p:cNvSpPr txBox="1">
            <a:spLocks/>
          </p:cNvSpPr>
          <p:nvPr userDrawn="1"/>
        </p:nvSpPr>
        <p:spPr bwMode="gray">
          <a:xfrm>
            <a:off x="11135478" y="-52"/>
            <a:ext cx="7200" cy="4608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
        <p:nvSpPr>
          <p:cNvPr id="77" name="Textplatzhalter 45">
            <a:extLst>
              <a:ext uri="{FF2B5EF4-FFF2-40B4-BE49-F238E27FC236}">
                <a16:creationId xmlns:a16="http://schemas.microsoft.com/office/drawing/2014/main" id="{31A9ED0B-EF26-4B11-B0BC-91603031FE42}"/>
              </a:ext>
            </a:extLst>
          </p:cNvPr>
          <p:cNvSpPr txBox="1">
            <a:spLocks/>
          </p:cNvSpPr>
          <p:nvPr userDrawn="1"/>
        </p:nvSpPr>
        <p:spPr bwMode="gray">
          <a:xfrm>
            <a:off x="10701432" y="302348"/>
            <a:ext cx="7200" cy="1584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
        <p:nvSpPr>
          <p:cNvPr id="104" name="Textplatzhalter 45">
            <a:extLst>
              <a:ext uri="{FF2B5EF4-FFF2-40B4-BE49-F238E27FC236}">
                <a16:creationId xmlns:a16="http://schemas.microsoft.com/office/drawing/2014/main" id="{C84DEC6A-FC99-4648-BD68-423A3A732E56}"/>
              </a:ext>
            </a:extLst>
          </p:cNvPr>
          <p:cNvSpPr txBox="1">
            <a:spLocks/>
          </p:cNvSpPr>
          <p:nvPr userDrawn="1"/>
        </p:nvSpPr>
        <p:spPr bwMode="gray">
          <a:xfrm>
            <a:off x="11208568" y="311701"/>
            <a:ext cx="720080" cy="120132"/>
          </a:xfrm>
          <a:prstGeom prst="rect">
            <a:avLst/>
          </a:prstGeom>
          <a:blipFill dpi="0"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en-GB"/>
              <a:t> </a:t>
            </a:r>
          </a:p>
        </p:txBody>
      </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87" r:id="rId1"/>
    <p:sldLayoutId id="2147483664" r:id="rId2"/>
    <p:sldLayoutId id="2147483668" r:id="rId3"/>
    <p:sldLayoutId id="2147483661" r:id="rId4"/>
    <p:sldLayoutId id="2147483651" r:id="rId5"/>
    <p:sldLayoutId id="2147483685" r:id="rId6"/>
    <p:sldLayoutId id="2147483684" r:id="rId7"/>
    <p:sldLayoutId id="2147483654" r:id="rId8"/>
    <p:sldLayoutId id="2147483650" r:id="rId9"/>
    <p:sldLayoutId id="2147483652" r:id="rId10"/>
    <p:sldLayoutId id="2147483659" r:id="rId11"/>
    <p:sldLayoutId id="2147483656" r:id="rId12"/>
    <p:sldLayoutId id="2147483673" r:id="rId13"/>
    <p:sldLayoutId id="2147483658" r:id="rId14"/>
    <p:sldLayoutId id="2147483682" r:id="rId15"/>
    <p:sldLayoutId id="2147483675" r:id="rId16"/>
    <p:sldLayoutId id="2147483678" r:id="rId17"/>
    <p:sldLayoutId id="2147483662" r:id="rId18"/>
    <p:sldLayoutId id="2147483655" r:id="rId19"/>
    <p:sldLayoutId id="2147483679" r:id="rId20"/>
    <p:sldLayoutId id="2147483683" r:id="rId21"/>
    <p:sldLayoutId id="2147483686" r:id="rId22"/>
    <p:sldLayoutId id="2147483688" r:id="rId23"/>
    <p:sldLayoutId id="2147483699" r:id="rId24"/>
  </p:sldLayoutIdLst>
  <p:hf hdr="0" dt="0"/>
  <p:txStyles>
    <p:title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5" pos="7469" userDrawn="1">
          <p15:clr>
            <a:srgbClr val="F26B43"/>
          </p15:clr>
        </p15:guide>
        <p15:guide id="11" orient="horz" pos="4110" userDrawn="1">
          <p15:clr>
            <a:srgbClr val="F26B43"/>
          </p15:clr>
        </p15:guide>
        <p15:guide id="12" orient="horz" pos="21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slideLayout" Target="../slideLayouts/slideLayout24.xml"/><Relationship Id="rId7" Type="http://schemas.openxmlformats.org/officeDocument/2006/relationships/image" Target="../media/image3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bin"/><Relationship Id="rId5" Type="http://schemas.openxmlformats.org/officeDocument/2006/relationships/image" Target="../media/image30.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Layout" Target="../slideLayouts/slideLayout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image" Target="../media/image33.emf"/><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19" Type="http://schemas.openxmlformats.org/officeDocument/2006/relationships/oleObject" Target="../embeddings/oleObject2.bin"/><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5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34.jpeg"/></Relationships>
</file>

<file path=ppt/slides/_rels/slide5.xml.rels><?xml version="1.0" encoding="UTF-8" standalone="yes"?>
<Relationships xmlns="http://schemas.openxmlformats.org/package/2006/relationships"><Relationship Id="rId8" Type="http://schemas.openxmlformats.org/officeDocument/2006/relationships/hyperlink" Target="mailto:katharina.rynesch@kapsch.net" TargetMode="External"/><Relationship Id="rId3" Type="http://schemas.openxmlformats.org/officeDocument/2006/relationships/tags" Target="../tags/tag56.xml"/><Relationship Id="rId7" Type="http://schemas.openxmlformats.org/officeDocument/2006/relationships/image" Target="../media/image36.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5.emf"/><Relationship Id="rId5" Type="http://schemas.openxmlformats.org/officeDocument/2006/relationships/oleObject" Target="../embeddings/oleObject3.bin"/><Relationship Id="rId4"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Szene, Weg, Straße, Himmel enthält.&#10;&#10;Automatisch generierte Beschreibung">
            <a:extLst>
              <a:ext uri="{FF2B5EF4-FFF2-40B4-BE49-F238E27FC236}">
                <a16:creationId xmlns:a16="http://schemas.microsoft.com/office/drawing/2014/main" id="{C15609EB-EB98-49FF-A497-FA3EE47EE53C}"/>
              </a:ext>
            </a:extLst>
          </p:cNvPr>
          <p:cNvPicPr>
            <a:picLocks noChangeAspect="1"/>
          </p:cNvPicPr>
          <p:nvPr/>
        </p:nvPicPr>
        <p:blipFill rotWithShape="1">
          <a:blip r:embed="rId3">
            <a:extLst>
              <a:ext uri="{28A0092B-C50C-407E-A947-70E740481C1C}">
                <a14:useLocalDpi xmlns:a14="http://schemas.microsoft.com/office/drawing/2010/main" val="0"/>
              </a:ext>
            </a:extLst>
          </a:blip>
          <a:srcRect l="-15" t="39541" r="14" b="11586"/>
          <a:stretch/>
        </p:blipFill>
        <p:spPr>
          <a:xfrm>
            <a:off x="20" y="-1"/>
            <a:ext cx="12190530" cy="4140660"/>
          </a:xfrm>
          <a:custGeom>
            <a:avLst/>
            <a:gdLst>
              <a:gd name="connsiteX0" fmla="*/ 0 w 12190550"/>
              <a:gd name="connsiteY0" fmla="*/ 0 h 4140660"/>
              <a:gd name="connsiteX1" fmla="*/ 6728768 w 12190550"/>
              <a:gd name="connsiteY1" fmla="*/ 0 h 4140660"/>
              <a:gd name="connsiteX2" fmla="*/ 12190550 w 12190550"/>
              <a:gd name="connsiteY2" fmla="*/ 1059922 h 4140660"/>
              <a:gd name="connsiteX3" fmla="*/ 12190550 w 12190550"/>
              <a:gd name="connsiteY3" fmla="*/ 2209619 h 4140660"/>
              <a:gd name="connsiteX4" fmla="*/ 3566 w 12190550"/>
              <a:gd name="connsiteY4" fmla="*/ 4140660 h 4140660"/>
              <a:gd name="connsiteX5" fmla="*/ 0 w 12190550"/>
              <a:gd name="connsiteY5" fmla="*/ 4140660 h 4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0550" h="4140660">
                <a:moveTo>
                  <a:pt x="0" y="0"/>
                </a:moveTo>
                <a:lnTo>
                  <a:pt x="6728768" y="0"/>
                </a:lnTo>
                <a:lnTo>
                  <a:pt x="12190550" y="1059922"/>
                </a:lnTo>
                <a:lnTo>
                  <a:pt x="12190550" y="2209619"/>
                </a:lnTo>
                <a:lnTo>
                  <a:pt x="3566" y="4140660"/>
                </a:lnTo>
                <a:lnTo>
                  <a:pt x="0" y="4140660"/>
                </a:lnTo>
                <a:close/>
              </a:path>
            </a:pathLst>
          </a:custGeom>
          <a:noFill/>
        </p:spPr>
      </p:pic>
      <p:sp>
        <p:nvSpPr>
          <p:cNvPr id="11" name="Text Placeholder 2">
            <a:extLst>
              <a:ext uri="{FF2B5EF4-FFF2-40B4-BE49-F238E27FC236}">
                <a16:creationId xmlns:a16="http://schemas.microsoft.com/office/drawing/2014/main" id="{BFA6440F-D94B-422E-BC85-6AEBF5F2574A}"/>
              </a:ext>
            </a:extLst>
          </p:cNvPr>
          <p:cNvSpPr>
            <a:spLocks noGrp="1"/>
          </p:cNvSpPr>
          <p:nvPr>
            <p:ph type="body" sz="quarter" idx="14"/>
          </p:nvPr>
        </p:nvSpPr>
        <p:spPr>
          <a:xfrm>
            <a:off x="0" y="2474275"/>
            <a:ext cx="10530000" cy="2520000"/>
          </a:xfrm>
        </p:spPr>
        <p:txBody>
          <a:bodyPr/>
          <a:lstStyle/>
          <a:p>
            <a:endParaRPr lang="en-US"/>
          </a:p>
        </p:txBody>
      </p:sp>
      <p:sp>
        <p:nvSpPr>
          <p:cNvPr id="3" name="Untertitel 2">
            <a:extLst>
              <a:ext uri="{FF2B5EF4-FFF2-40B4-BE49-F238E27FC236}">
                <a16:creationId xmlns:a16="http://schemas.microsoft.com/office/drawing/2014/main" id="{3493C2A7-7954-4207-B7F4-CDC478F69BC8}"/>
              </a:ext>
            </a:extLst>
          </p:cNvPr>
          <p:cNvSpPr>
            <a:spLocks noGrp="1"/>
          </p:cNvSpPr>
          <p:nvPr>
            <p:ph type="subTitle" idx="1"/>
          </p:nvPr>
        </p:nvSpPr>
        <p:spPr bwMode="gray">
          <a:xfrm>
            <a:off x="5951539" y="6309320"/>
            <a:ext cx="5905500" cy="215305"/>
          </a:xfrm>
        </p:spPr>
        <p:txBody>
          <a:bodyPr>
            <a:normAutofit/>
          </a:bodyPr>
          <a:lstStyle/>
          <a:p>
            <a:pPr>
              <a:spcAft>
                <a:spcPts val="600"/>
              </a:spcAft>
            </a:pPr>
            <a:r>
              <a:rPr lang="en-GB" dirty="0"/>
              <a:t>ASECAP Days		November 2022 | Katharina Rynesch</a:t>
            </a:r>
          </a:p>
        </p:txBody>
      </p:sp>
      <p:sp>
        <p:nvSpPr>
          <p:cNvPr id="4" name="Textplatzhalter 3">
            <a:extLst>
              <a:ext uri="{FF2B5EF4-FFF2-40B4-BE49-F238E27FC236}">
                <a16:creationId xmlns:a16="http://schemas.microsoft.com/office/drawing/2014/main" id="{F2738A68-A51E-4CB3-A383-5F97924538FC}"/>
              </a:ext>
            </a:extLst>
          </p:cNvPr>
          <p:cNvSpPr>
            <a:spLocks noGrp="1"/>
          </p:cNvSpPr>
          <p:nvPr>
            <p:ph type="body" sz="quarter" idx="15"/>
          </p:nvPr>
        </p:nvSpPr>
        <p:spPr bwMode="gray">
          <a:xfrm>
            <a:off x="5951568" y="5589240"/>
            <a:ext cx="5905471" cy="485525"/>
          </a:xfrm>
        </p:spPr>
        <p:txBody>
          <a:bodyPr>
            <a:normAutofit fontScale="92500" lnSpcReduction="10000"/>
          </a:bodyPr>
          <a:lstStyle/>
          <a:p>
            <a:r>
              <a:rPr lang="en-GB" b="0" i="1" dirty="0">
                <a:solidFill>
                  <a:srgbClr val="706F6F"/>
                </a:solidFill>
                <a:effectLst/>
                <a:latin typeface="Avenir Next LT Pro" panose="020B0504020202020204" pitchFamily="34" charset="0"/>
              </a:rPr>
              <a:t>Sustainable roadside infrastructure </a:t>
            </a:r>
            <a:r>
              <a:rPr lang="en-US" b="0" i="1" dirty="0">
                <a:solidFill>
                  <a:srgbClr val="706F6F"/>
                </a:solidFill>
                <a:effectLst/>
                <a:latin typeface="Avenir Next LT Pro" panose="020B0504020202020204" pitchFamily="34" charset="0"/>
              </a:rPr>
              <a:t>for greener and cleaner traffic environment</a:t>
            </a:r>
            <a:r>
              <a:rPr lang="en-GB" dirty="0"/>
              <a:t>.</a:t>
            </a:r>
          </a:p>
        </p:txBody>
      </p:sp>
      <p:sp>
        <p:nvSpPr>
          <p:cNvPr id="13" name="Text Placeholder 5">
            <a:extLst>
              <a:ext uri="{FF2B5EF4-FFF2-40B4-BE49-F238E27FC236}">
                <a16:creationId xmlns:a16="http://schemas.microsoft.com/office/drawing/2014/main" id="{95A29140-44D5-46B5-B7E5-A26C9BFF1B29}"/>
              </a:ext>
            </a:extLst>
          </p:cNvPr>
          <p:cNvSpPr>
            <a:spLocks noGrp="1"/>
          </p:cNvSpPr>
          <p:nvPr>
            <p:ph type="body" sz="quarter" idx="13"/>
          </p:nvPr>
        </p:nvSpPr>
        <p:spPr>
          <a:xfrm>
            <a:off x="5022950" y="-1"/>
            <a:ext cx="7167600" cy="1515600"/>
          </a:xfrm>
        </p:spPr>
        <p:txBody>
          <a:bodyPr/>
          <a:lstStyle/>
          <a:p>
            <a:endParaRPr lang="en-US"/>
          </a:p>
        </p:txBody>
      </p:sp>
      <p:sp>
        <p:nvSpPr>
          <p:cNvPr id="2" name="Titel 1">
            <a:extLst>
              <a:ext uri="{FF2B5EF4-FFF2-40B4-BE49-F238E27FC236}">
                <a16:creationId xmlns:a16="http://schemas.microsoft.com/office/drawing/2014/main" id="{D223FD44-12C4-4AF9-8996-28F2C11ECD9A}"/>
              </a:ext>
            </a:extLst>
          </p:cNvPr>
          <p:cNvSpPr>
            <a:spLocks noGrp="1"/>
          </p:cNvSpPr>
          <p:nvPr>
            <p:ph type="ctrTitle"/>
          </p:nvPr>
        </p:nvSpPr>
        <p:spPr bwMode="gray">
          <a:xfrm>
            <a:off x="5951539" y="4430876"/>
            <a:ext cx="5905500" cy="944541"/>
          </a:xfrm>
        </p:spPr>
        <p:txBody>
          <a:bodyPr anchor="b">
            <a:normAutofit/>
          </a:bodyPr>
          <a:lstStyle/>
          <a:p>
            <a:pPr>
              <a:lnSpc>
                <a:spcPct val="90000"/>
              </a:lnSpc>
            </a:pPr>
            <a:r>
              <a:rPr lang="en-GB" dirty="0"/>
              <a:t>Green Gantry. </a:t>
            </a:r>
            <a:br>
              <a:rPr lang="en-GB" dirty="0"/>
            </a:br>
            <a:r>
              <a:rPr lang="en-GB" dirty="0"/>
              <a:t> </a:t>
            </a:r>
          </a:p>
        </p:txBody>
      </p:sp>
    </p:spTree>
    <p:extLst>
      <p:ext uri="{BB962C8B-B14F-4D97-AF65-F5344CB8AC3E}">
        <p14:creationId xmlns:p14="http://schemas.microsoft.com/office/powerpoint/2010/main" val="163944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23">
            <a:extLst>
              <a:ext uri="{FF2B5EF4-FFF2-40B4-BE49-F238E27FC236}">
                <a16:creationId xmlns:a16="http://schemas.microsoft.com/office/drawing/2014/main" id="{5068251A-2327-46D3-86DA-695E9E26484C}"/>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t="12983" b="12983"/>
          <a:stretch/>
        </p:blipFill>
        <p:spPr>
          <a:xfrm>
            <a:off x="642090" y="1611244"/>
            <a:ext cx="4978401" cy="2458486"/>
          </a:xfrm>
          <a:prstGeom prst="rect">
            <a:avLst/>
          </a:prstGeom>
          <a:ln>
            <a:noFill/>
          </a:ln>
          <a:effectLst>
            <a:softEdge rad="112500"/>
          </a:effectLst>
        </p:spPr>
      </p:pic>
      <p:graphicFrame>
        <p:nvGraphicFramePr>
          <p:cNvPr id="3" name="Objekt 2" hidden="1"/>
          <p:cNvGraphicFramePr>
            <a:graphicFrameLocks/>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 name="Objekt 2"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a:extLst>
              <a:ext uri="{FF2B5EF4-FFF2-40B4-BE49-F238E27FC236}">
                <a16:creationId xmlns:a16="http://schemas.microsoft.com/office/drawing/2014/main" id="{BA4E25B6-D27B-47C8-8BE4-A837BDFCDBFE}"/>
              </a:ext>
            </a:extLst>
          </p:cNvPr>
          <p:cNvSpPr/>
          <p:nvPr>
            <p:custDataLst>
              <p:tags r:id="rId2"/>
            </p:custDataLst>
          </p:nvPr>
        </p:nvSpPr>
        <p:spPr>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3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5" name="Tytuł 4">
            <a:extLst>
              <a:ext uri="{FF2B5EF4-FFF2-40B4-BE49-F238E27FC236}">
                <a16:creationId xmlns:a16="http://schemas.microsoft.com/office/drawing/2014/main" id="{907102C8-EA82-4861-AF61-F92DA00E98F9}"/>
              </a:ext>
            </a:extLst>
          </p:cNvPr>
          <p:cNvSpPr>
            <a:spLocks noGrp="1"/>
          </p:cNvSpPr>
          <p:nvPr>
            <p:ph type="title"/>
          </p:nvPr>
        </p:nvSpPr>
        <p:spPr/>
        <p:txBody>
          <a:bodyPr vert="horz"/>
          <a:lstStyle/>
          <a:p>
            <a:r>
              <a:rPr lang="de-AT" dirty="0"/>
              <a:t>Green </a:t>
            </a:r>
            <a:r>
              <a:rPr lang="de-AT" dirty="0" err="1"/>
              <a:t>Gantry</a:t>
            </a:r>
            <a:r>
              <a:rPr lang="de-AT" dirty="0"/>
              <a:t>.</a:t>
            </a:r>
            <a:endParaRPr lang="pl-PL" dirty="0"/>
          </a:p>
        </p:txBody>
      </p:sp>
      <p:sp>
        <p:nvSpPr>
          <p:cNvPr id="6" name="Symbol zastępczy tekstu 5">
            <a:extLst>
              <a:ext uri="{FF2B5EF4-FFF2-40B4-BE49-F238E27FC236}">
                <a16:creationId xmlns:a16="http://schemas.microsoft.com/office/drawing/2014/main" id="{76CA6B82-93D4-4835-9EC1-2AEAFA92FEB0}"/>
              </a:ext>
            </a:extLst>
          </p:cNvPr>
          <p:cNvSpPr>
            <a:spLocks noGrp="1"/>
          </p:cNvSpPr>
          <p:nvPr>
            <p:ph type="body" sz="quarter" idx="14"/>
          </p:nvPr>
        </p:nvSpPr>
        <p:spPr/>
        <p:txBody>
          <a:bodyPr/>
          <a:lstStyle/>
          <a:p>
            <a:r>
              <a:rPr lang="en-US" sz="1600" i="1" dirty="0">
                <a:solidFill>
                  <a:srgbClr val="706F6F"/>
                </a:solidFill>
              </a:rPr>
              <a:t>Our new sustainable wooden Roadside.</a:t>
            </a:r>
          </a:p>
          <a:p>
            <a:endParaRPr lang="en-US" dirty="0"/>
          </a:p>
        </p:txBody>
      </p:sp>
      <p:sp>
        <p:nvSpPr>
          <p:cNvPr id="2" name="Fußzeilenplatzhalter 1">
            <a:extLst>
              <a:ext uri="{FF2B5EF4-FFF2-40B4-BE49-F238E27FC236}">
                <a16:creationId xmlns:a16="http://schemas.microsoft.com/office/drawing/2014/main" id="{DF0CDC1D-1B26-46AF-B9EC-CFD5EBF4B737}"/>
              </a:ext>
            </a:extLst>
          </p:cNvPr>
          <p:cNvSpPr>
            <a:spLocks noGrp="1"/>
          </p:cNvSpPr>
          <p:nvPr>
            <p:ph type="ftr" sz="quarter" idx="11"/>
          </p:nvPr>
        </p:nvSpPr>
        <p:spPr/>
        <p:txBody>
          <a:bodyPr/>
          <a:lstStyle/>
          <a:p>
            <a:r>
              <a:rPr lang="de-DE" dirty="0"/>
              <a:t>Green </a:t>
            </a:r>
            <a:r>
              <a:rPr lang="de-DE" dirty="0" err="1"/>
              <a:t>Gantry</a:t>
            </a:r>
            <a:endParaRPr lang="de-DE" dirty="0"/>
          </a:p>
        </p:txBody>
      </p:sp>
      <p:sp>
        <p:nvSpPr>
          <p:cNvPr id="22" name="Textplatzhalter 2">
            <a:extLst>
              <a:ext uri="{FF2B5EF4-FFF2-40B4-BE49-F238E27FC236}">
                <a16:creationId xmlns:a16="http://schemas.microsoft.com/office/drawing/2014/main" id="{09F1134B-FC9C-431A-B322-1E7907F7564A}"/>
              </a:ext>
            </a:extLst>
          </p:cNvPr>
          <p:cNvSpPr txBox="1">
            <a:spLocks/>
          </p:cNvSpPr>
          <p:nvPr/>
        </p:nvSpPr>
        <p:spPr bwMode="gray">
          <a:xfrm>
            <a:off x="642090" y="4268099"/>
            <a:ext cx="4978400" cy="237554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600" dirty="0"/>
              <a:t>Made of wood.</a:t>
            </a:r>
          </a:p>
          <a:p>
            <a:pPr marL="285750" indent="-285750">
              <a:buFontTx/>
              <a:buChar char="-"/>
              <a:defRPr/>
            </a:pPr>
            <a:r>
              <a:rPr lang="en-GB" sz="1600" dirty="0"/>
              <a:t>Design fulfils the Eurocode standards for stability, </a:t>
            </a:r>
            <a:br>
              <a:rPr lang="en-GB" sz="1600" dirty="0"/>
            </a:br>
            <a:r>
              <a:rPr lang="en-GB" sz="1600" dirty="0"/>
              <a:t>durability &amp; security. </a:t>
            </a:r>
          </a:p>
          <a:p>
            <a:pPr marL="285750" indent="-285750">
              <a:buFontTx/>
              <a:buChar char="-"/>
              <a:defRPr/>
            </a:pPr>
            <a:r>
              <a:rPr lang="en-GB" sz="1600" dirty="0"/>
              <a:t>Competitive in price, production, lifetime, resistance &amp; maintenance</a:t>
            </a:r>
          </a:p>
          <a:p>
            <a:pPr marL="285750" indent="-285750">
              <a:buFontTx/>
              <a:buChar char="-"/>
              <a:defRPr/>
            </a:pPr>
            <a:r>
              <a:rPr lang="en-GB" sz="1600" dirty="0"/>
              <a:t>Reduces CO2 footprint of tolling solutions drastically.  Saving up to 53t with one Gantry.</a:t>
            </a:r>
          </a:p>
        </p:txBody>
      </p:sp>
      <p:sp>
        <p:nvSpPr>
          <p:cNvPr id="9" name="Foliennummernplatzhalter 8">
            <a:extLst>
              <a:ext uri="{FF2B5EF4-FFF2-40B4-BE49-F238E27FC236}">
                <a16:creationId xmlns:a16="http://schemas.microsoft.com/office/drawing/2014/main" id="{CBA0258E-AB1B-4098-A1C1-4D201BDCD496}"/>
              </a:ext>
            </a:extLst>
          </p:cNvPr>
          <p:cNvSpPr>
            <a:spLocks noGrp="1"/>
          </p:cNvSpPr>
          <p:nvPr>
            <p:ph type="sldNum" sz="quarter" idx="12"/>
          </p:nvPr>
        </p:nvSpPr>
        <p:spPr/>
        <p:txBody>
          <a:bodyPr/>
          <a:lstStyle/>
          <a:p>
            <a:fld id="{8FF9B0DE-3FEB-4AA0-B465-B80EF7C1333D}" type="slidenum">
              <a:rPr lang="en-GB" smtClean="0"/>
              <a:t>2</a:t>
            </a:fld>
            <a:endParaRPr lang="en-GB" dirty="0"/>
          </a:p>
        </p:txBody>
      </p:sp>
      <p:sp>
        <p:nvSpPr>
          <p:cNvPr id="14" name="Textplatzhalter 2">
            <a:extLst>
              <a:ext uri="{FF2B5EF4-FFF2-40B4-BE49-F238E27FC236}">
                <a16:creationId xmlns:a16="http://schemas.microsoft.com/office/drawing/2014/main" id="{BEC21878-1215-4956-9209-992D5B1C7738}"/>
              </a:ext>
            </a:extLst>
          </p:cNvPr>
          <p:cNvSpPr txBox="1">
            <a:spLocks/>
          </p:cNvSpPr>
          <p:nvPr/>
        </p:nvSpPr>
        <p:spPr bwMode="gray">
          <a:xfrm>
            <a:off x="6571510" y="4270052"/>
            <a:ext cx="5102748" cy="237554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600" dirty="0"/>
              <a:t>Innovative concept.</a:t>
            </a:r>
          </a:p>
          <a:p>
            <a:pPr marL="285750" indent="-285750">
              <a:buFontTx/>
              <a:buChar char="-"/>
              <a:defRPr/>
            </a:pPr>
            <a:r>
              <a:rPr lang="en-GB" sz="1600" dirty="0"/>
              <a:t>Modular design up to 35m</a:t>
            </a:r>
          </a:p>
          <a:p>
            <a:pPr marL="285750" indent="-285750">
              <a:buFontTx/>
              <a:buChar char="-"/>
              <a:defRPr/>
            </a:pPr>
            <a:r>
              <a:rPr lang="en-GB" sz="1600" dirty="0"/>
              <a:t>Available for different gantry sizes </a:t>
            </a:r>
          </a:p>
          <a:p>
            <a:pPr marL="285750" indent="-285750">
              <a:buFontTx/>
              <a:buChar char="-"/>
              <a:defRPr/>
            </a:pPr>
            <a:r>
              <a:rPr lang="en-GB" sz="1600" dirty="0"/>
              <a:t>Walkable and non-walkable</a:t>
            </a:r>
          </a:p>
          <a:p>
            <a:pPr marL="285750" indent="-285750">
              <a:buFontTx/>
              <a:buChar char="-"/>
              <a:defRPr/>
            </a:pPr>
            <a:r>
              <a:rPr lang="en-GB" sz="1600" dirty="0"/>
              <a:t>Laminated wood, constructive wood protection &amp; p</a:t>
            </a:r>
            <a:r>
              <a:rPr lang="en-US" sz="1600" dirty="0" err="1"/>
              <a:t>lanking</a:t>
            </a:r>
            <a:r>
              <a:rPr lang="en-US" sz="1600" dirty="0"/>
              <a:t> </a:t>
            </a:r>
          </a:p>
          <a:p>
            <a:pPr marL="285750" indent="-285750">
              <a:buFontTx/>
              <a:buChar char="-"/>
              <a:defRPr/>
            </a:pPr>
            <a:r>
              <a:rPr lang="en-GB" sz="1600" dirty="0"/>
              <a:t>Foundation or installation on jersey barriers</a:t>
            </a:r>
          </a:p>
          <a:p>
            <a:pPr marL="285750" indent="-285750">
              <a:buFontTx/>
              <a:buChar char="-"/>
              <a:defRPr/>
            </a:pPr>
            <a:endParaRPr lang="en-GB" dirty="0"/>
          </a:p>
        </p:txBody>
      </p:sp>
      <p:pic>
        <p:nvPicPr>
          <p:cNvPr id="11" name="Bildplatzhalter 10" descr="Ein Bild, das Weg, Szene, Straße, Spur enthält.&#10;&#10;Automatisch generierte Beschreibung">
            <a:extLst>
              <a:ext uri="{FF2B5EF4-FFF2-40B4-BE49-F238E27FC236}">
                <a16:creationId xmlns:a16="http://schemas.microsoft.com/office/drawing/2014/main" id="{AA7C0FBF-4D32-4583-9CE9-D706F65F4DEC}"/>
              </a:ext>
            </a:extLst>
          </p:cNvPr>
          <p:cNvPicPr>
            <a:picLocks noGrp="1" noChangeAspect="1"/>
          </p:cNvPicPr>
          <p:nvPr>
            <p:ph type="pic" sz="quarter" idx="15"/>
          </p:nvPr>
        </p:nvPicPr>
        <p:blipFill rotWithShape="1">
          <a:blip r:embed="rId8">
            <a:extLst>
              <a:ext uri="{28A0092B-C50C-407E-A947-70E740481C1C}">
                <a14:useLocalDpi xmlns:a14="http://schemas.microsoft.com/office/drawing/2010/main" val="0"/>
              </a:ext>
            </a:extLst>
          </a:blip>
          <a:srcRect t="29498" b="-650"/>
          <a:stretch/>
        </p:blipFill>
        <p:spPr>
          <a:xfrm>
            <a:off x="6571509" y="1611244"/>
            <a:ext cx="4978401" cy="2458486"/>
          </a:xfrm>
          <a:prstGeom prst="rect">
            <a:avLst/>
          </a:prstGeom>
          <a:ln>
            <a:noFill/>
          </a:ln>
          <a:effectLst>
            <a:softEdge rad="112500"/>
          </a:effectLst>
        </p:spPr>
      </p:pic>
    </p:spTree>
    <p:extLst>
      <p:ext uri="{BB962C8B-B14F-4D97-AF65-F5344CB8AC3E}">
        <p14:creationId xmlns:p14="http://schemas.microsoft.com/office/powerpoint/2010/main" val="1535137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platzhalter 2">
            <a:extLst>
              <a:ext uri="{FF2B5EF4-FFF2-40B4-BE49-F238E27FC236}">
                <a16:creationId xmlns:a16="http://schemas.microsoft.com/office/drawing/2014/main" id="{6C197FC5-F508-414C-80C5-76DBCE465C82}"/>
              </a:ext>
            </a:extLst>
          </p:cNvPr>
          <p:cNvSpPr txBox="1">
            <a:spLocks/>
          </p:cNvSpPr>
          <p:nvPr/>
        </p:nvSpPr>
        <p:spPr bwMode="gray">
          <a:xfrm>
            <a:off x="334963" y="1700213"/>
            <a:ext cx="2664693" cy="72000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800" dirty="0"/>
              <a:t>Local availability.</a:t>
            </a:r>
          </a:p>
        </p:txBody>
      </p:sp>
      <p:graphicFrame>
        <p:nvGraphicFramePr>
          <p:cNvPr id="42" name="Obiekt 41" hidden="1">
            <a:extLst>
              <a:ext uri="{FF2B5EF4-FFF2-40B4-BE49-F238E27FC236}">
                <a16:creationId xmlns:a16="http://schemas.microsoft.com/office/drawing/2014/main" id="{BB4EF2A6-2DDB-4615-AEC9-D2F027C43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8" imgH="408" progId="TCLayout.ActiveDocument.1">
                  <p:embed/>
                </p:oleObj>
              </mc:Choice>
              <mc:Fallback>
                <p:oleObj name="think-cell Slide" r:id="rId19" imgW="408" imgH="408" progId="TCLayout.ActiveDocument.1">
                  <p:embed/>
                  <p:pic>
                    <p:nvPicPr>
                      <p:cNvPr id="42" name="Obiekt 41" hidden="1">
                        <a:extLst>
                          <a:ext uri="{FF2B5EF4-FFF2-40B4-BE49-F238E27FC236}">
                            <a16:creationId xmlns:a16="http://schemas.microsoft.com/office/drawing/2014/main" id="{BB4EF2A6-2DDB-4615-AEC9-D2F027C43FE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ytuł 2">
            <a:extLst>
              <a:ext uri="{FF2B5EF4-FFF2-40B4-BE49-F238E27FC236}">
                <a16:creationId xmlns:a16="http://schemas.microsoft.com/office/drawing/2014/main" id="{4AF31CAB-68D0-4840-B175-2B6DEA57C7EF}"/>
              </a:ext>
            </a:extLst>
          </p:cNvPr>
          <p:cNvSpPr>
            <a:spLocks noGrp="1"/>
          </p:cNvSpPr>
          <p:nvPr>
            <p:ph type="title"/>
          </p:nvPr>
        </p:nvSpPr>
        <p:spPr/>
        <p:txBody>
          <a:bodyPr vert="horz"/>
          <a:lstStyle/>
          <a:p>
            <a:r>
              <a:rPr lang="en-US" dirty="0"/>
              <a:t>Why to </a:t>
            </a:r>
            <a:r>
              <a:rPr lang="en-US"/>
              <a:t>decide for wooden </a:t>
            </a:r>
            <a:r>
              <a:rPr lang="en-US" dirty="0"/>
              <a:t>infrastructure.</a:t>
            </a:r>
          </a:p>
        </p:txBody>
      </p:sp>
      <p:sp>
        <p:nvSpPr>
          <p:cNvPr id="2" name="Symbol zastępczy stopki 1">
            <a:extLst>
              <a:ext uri="{FF2B5EF4-FFF2-40B4-BE49-F238E27FC236}">
                <a16:creationId xmlns:a16="http://schemas.microsoft.com/office/drawing/2014/main" id="{35D8C650-5A0F-45C6-97F3-781C1F807E30}"/>
              </a:ext>
            </a:extLst>
          </p:cNvPr>
          <p:cNvSpPr>
            <a:spLocks noGrp="1"/>
          </p:cNvSpPr>
          <p:nvPr>
            <p:ph type="ftr" sz="quarter" idx="11"/>
            <p:custDataLst>
              <p:tags r:id="rId2"/>
            </p:custDataLst>
          </p:nvPr>
        </p:nvSpPr>
        <p:spPr/>
        <p:txBody>
          <a:bodyPr/>
          <a:lstStyle/>
          <a:p>
            <a:r>
              <a:rPr lang="de-DE"/>
              <a:t>Green Gantry</a:t>
            </a:r>
          </a:p>
        </p:txBody>
      </p:sp>
      <p:sp>
        <p:nvSpPr>
          <p:cNvPr id="4" name="Symbol zastępczy tekstu 3">
            <a:extLst>
              <a:ext uri="{FF2B5EF4-FFF2-40B4-BE49-F238E27FC236}">
                <a16:creationId xmlns:a16="http://schemas.microsoft.com/office/drawing/2014/main" id="{A125D72C-1D08-407C-AC50-90D9ED6E4400}"/>
              </a:ext>
            </a:extLst>
          </p:cNvPr>
          <p:cNvSpPr>
            <a:spLocks noGrp="1"/>
          </p:cNvSpPr>
          <p:nvPr>
            <p:ph type="body" sz="quarter" idx="14"/>
          </p:nvPr>
        </p:nvSpPr>
        <p:spPr/>
        <p:txBody>
          <a:bodyPr/>
          <a:lstStyle/>
          <a:p>
            <a:r>
              <a:rPr lang="en-US" dirty="0"/>
              <a:t>Wood is a suitable material – also for roadside construction.</a:t>
            </a:r>
          </a:p>
        </p:txBody>
      </p:sp>
      <p:sp>
        <p:nvSpPr>
          <p:cNvPr id="37" name="Textplatzhalter 2">
            <a:extLst>
              <a:ext uri="{FF2B5EF4-FFF2-40B4-BE49-F238E27FC236}">
                <a16:creationId xmlns:a16="http://schemas.microsoft.com/office/drawing/2014/main" id="{4820BB22-0821-491E-A541-A39E32781B95}"/>
              </a:ext>
            </a:extLst>
          </p:cNvPr>
          <p:cNvSpPr txBox="1">
            <a:spLocks/>
          </p:cNvSpPr>
          <p:nvPr>
            <p:custDataLst>
              <p:tags r:id="rId3"/>
            </p:custDataLst>
          </p:nvPr>
        </p:nvSpPr>
        <p:spPr bwMode="gray">
          <a:xfrm>
            <a:off x="4079776" y="5373215"/>
            <a:ext cx="7777262" cy="1180309"/>
          </a:xfrm>
          <a:prstGeom prst="rect">
            <a:avLst/>
          </a:prstGeom>
          <a:noFill/>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a:defRPr/>
            </a:pPr>
            <a:r>
              <a:rPr lang="en-US" sz="1800" dirty="0"/>
              <a:t>Wood burns with a known burning rate per hour, steel melts and collapses unpredictably. Yearly visual inspections &amp; checks of connection parts (wood / steel) ensure reliability. </a:t>
            </a:r>
            <a:endParaRPr lang="en-GB" sz="1800" dirty="0"/>
          </a:p>
        </p:txBody>
      </p:sp>
      <p:sp>
        <p:nvSpPr>
          <p:cNvPr id="39" name="Textplatzhalter 2">
            <a:extLst>
              <a:ext uri="{FF2B5EF4-FFF2-40B4-BE49-F238E27FC236}">
                <a16:creationId xmlns:a16="http://schemas.microsoft.com/office/drawing/2014/main" id="{E1A198C3-1FE4-400E-A1B3-E671D5E1A320}"/>
              </a:ext>
            </a:extLst>
          </p:cNvPr>
          <p:cNvSpPr txBox="1">
            <a:spLocks/>
          </p:cNvSpPr>
          <p:nvPr>
            <p:custDataLst>
              <p:tags r:id="rId4"/>
            </p:custDataLst>
          </p:nvPr>
        </p:nvSpPr>
        <p:spPr bwMode="gray">
          <a:xfrm>
            <a:off x="4079776" y="4149079"/>
            <a:ext cx="7777262" cy="1008699"/>
          </a:xfrm>
          <a:prstGeom prst="rect">
            <a:avLst/>
          </a:prstGeom>
          <a:noFill/>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a:defRPr/>
            </a:pPr>
            <a:r>
              <a:rPr lang="en-US" sz="1800" dirty="0"/>
              <a:t>Laminated wood supplemented by non-chemical treatment &amp; constructive wood protection against water, ice, snow. Guarantees a lifetime of 20+ years of a Green Gantry. </a:t>
            </a:r>
            <a:endParaRPr lang="en-GB" sz="1800" dirty="0"/>
          </a:p>
        </p:txBody>
      </p:sp>
      <p:sp>
        <p:nvSpPr>
          <p:cNvPr id="41" name="Textplatzhalter 2">
            <a:extLst>
              <a:ext uri="{FF2B5EF4-FFF2-40B4-BE49-F238E27FC236}">
                <a16:creationId xmlns:a16="http://schemas.microsoft.com/office/drawing/2014/main" id="{364A393A-A28A-44BD-A386-38653CBD2E55}"/>
              </a:ext>
            </a:extLst>
          </p:cNvPr>
          <p:cNvSpPr txBox="1">
            <a:spLocks/>
          </p:cNvSpPr>
          <p:nvPr>
            <p:custDataLst>
              <p:tags r:id="rId5"/>
            </p:custDataLst>
          </p:nvPr>
        </p:nvSpPr>
        <p:spPr bwMode="gray">
          <a:xfrm>
            <a:off x="4079776" y="2924944"/>
            <a:ext cx="7777262" cy="720000"/>
          </a:xfrm>
          <a:prstGeom prst="rect">
            <a:avLst/>
          </a:prstGeom>
          <a:noFill/>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a:defRPr/>
            </a:pPr>
            <a:r>
              <a:rPr lang="en-US" sz="1800" dirty="0"/>
              <a:t>No high-energy fossil fuels needed in the production. Wood can be grown &amp; regrown and is biodegradable.</a:t>
            </a:r>
            <a:endParaRPr lang="en-GB" sz="1800" dirty="0"/>
          </a:p>
        </p:txBody>
      </p:sp>
      <p:sp>
        <p:nvSpPr>
          <p:cNvPr id="44" name="Textplatzhalter 2">
            <a:extLst>
              <a:ext uri="{FF2B5EF4-FFF2-40B4-BE49-F238E27FC236}">
                <a16:creationId xmlns:a16="http://schemas.microsoft.com/office/drawing/2014/main" id="{B15FE9B4-09E4-4FB4-9FB6-39E71403F42A}"/>
              </a:ext>
            </a:extLst>
          </p:cNvPr>
          <p:cNvSpPr txBox="1">
            <a:spLocks/>
          </p:cNvSpPr>
          <p:nvPr>
            <p:custDataLst>
              <p:tags r:id="rId6"/>
            </p:custDataLst>
          </p:nvPr>
        </p:nvSpPr>
        <p:spPr bwMode="gray">
          <a:xfrm>
            <a:off x="4079775" y="1700212"/>
            <a:ext cx="7777262" cy="1007285"/>
          </a:xfrm>
          <a:prstGeom prst="rect">
            <a:avLst/>
          </a:prstGeom>
          <a:noFill/>
        </p:spPr>
        <p:txBody>
          <a:bodyPr vert="horz" lIns="0" tIns="0" rIns="0" bIns="0" rtlCol="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a:defRPr/>
            </a:pPr>
            <a:r>
              <a:rPr lang="en-US" sz="1800" dirty="0"/>
              <a:t>Green Gantry design for European region uses locally available types of wood. This ensures the best natural resilience against</a:t>
            </a:r>
            <a:r>
              <a:rPr lang="en-US" sz="1800" dirty="0">
                <a:solidFill>
                  <a:srgbClr val="FF0000"/>
                </a:solidFill>
              </a:rPr>
              <a:t> </a:t>
            </a:r>
            <a:r>
              <a:rPr lang="en-US" sz="1800" dirty="0"/>
              <a:t>climate challenges (insects, etc.)</a:t>
            </a:r>
            <a:endParaRPr lang="en-GB" sz="1800" dirty="0"/>
          </a:p>
        </p:txBody>
      </p:sp>
      <p:sp>
        <p:nvSpPr>
          <p:cNvPr id="46" name="Textplatzhalter 2">
            <a:extLst>
              <a:ext uri="{FF2B5EF4-FFF2-40B4-BE49-F238E27FC236}">
                <a16:creationId xmlns:a16="http://schemas.microsoft.com/office/drawing/2014/main" id="{6F3AC627-25F0-4F0F-9330-27019789B1C9}"/>
              </a:ext>
            </a:extLst>
          </p:cNvPr>
          <p:cNvSpPr txBox="1">
            <a:spLocks/>
          </p:cNvSpPr>
          <p:nvPr>
            <p:custDataLst>
              <p:tags r:id="rId7"/>
            </p:custDataLst>
          </p:nvPr>
        </p:nvSpPr>
        <p:spPr bwMode="gray">
          <a:xfrm>
            <a:off x="334963" y="2924944"/>
            <a:ext cx="2664693" cy="72000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800" dirty="0"/>
              <a:t>Circular economy.</a:t>
            </a:r>
          </a:p>
        </p:txBody>
      </p:sp>
      <p:sp>
        <p:nvSpPr>
          <p:cNvPr id="47" name="Textplatzhalter 2">
            <a:extLst>
              <a:ext uri="{FF2B5EF4-FFF2-40B4-BE49-F238E27FC236}">
                <a16:creationId xmlns:a16="http://schemas.microsoft.com/office/drawing/2014/main" id="{F1EE03D0-65A1-4994-8E9C-6F4CC1B19E5D}"/>
              </a:ext>
            </a:extLst>
          </p:cNvPr>
          <p:cNvSpPr txBox="1">
            <a:spLocks/>
          </p:cNvSpPr>
          <p:nvPr/>
        </p:nvSpPr>
        <p:spPr bwMode="gray">
          <a:xfrm>
            <a:off x="334963" y="4149080"/>
            <a:ext cx="2664693" cy="72000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800" dirty="0"/>
              <a:t>Resilient.</a:t>
            </a:r>
          </a:p>
        </p:txBody>
      </p:sp>
      <p:sp>
        <p:nvSpPr>
          <p:cNvPr id="48" name="Textplatzhalter 2">
            <a:extLst>
              <a:ext uri="{FF2B5EF4-FFF2-40B4-BE49-F238E27FC236}">
                <a16:creationId xmlns:a16="http://schemas.microsoft.com/office/drawing/2014/main" id="{DC2A255D-F42E-4E36-A232-CC775AA64BB0}"/>
              </a:ext>
            </a:extLst>
          </p:cNvPr>
          <p:cNvSpPr txBox="1">
            <a:spLocks/>
          </p:cNvSpPr>
          <p:nvPr/>
        </p:nvSpPr>
        <p:spPr bwMode="gray">
          <a:xfrm>
            <a:off x="316491" y="5373216"/>
            <a:ext cx="2664693" cy="72000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pPr lvl="1">
              <a:defRPr/>
            </a:pPr>
            <a:r>
              <a:rPr lang="en-GB" sz="1800" dirty="0"/>
              <a:t>Reliable. Durable.</a:t>
            </a:r>
          </a:p>
        </p:txBody>
      </p:sp>
      <p:cxnSp>
        <p:nvCxnSpPr>
          <p:cNvPr id="35" name="Łącznik prosty 10">
            <a:extLst>
              <a:ext uri="{FF2B5EF4-FFF2-40B4-BE49-F238E27FC236}">
                <a16:creationId xmlns:a16="http://schemas.microsoft.com/office/drawing/2014/main" id="{A3406E3B-BB19-F14D-A05D-88223BCC9390}"/>
              </a:ext>
            </a:extLst>
          </p:cNvPr>
          <p:cNvCxnSpPr>
            <a:cxnSpLocks/>
          </p:cNvCxnSpPr>
          <p:nvPr>
            <p:custDataLst>
              <p:tags r:id="rId8"/>
            </p:custDataLst>
          </p:nvPr>
        </p:nvCxnSpPr>
        <p:spPr bwMode="gray">
          <a:xfrm>
            <a:off x="4079775" y="5155768"/>
            <a:ext cx="7776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Łącznik prosty 10">
            <a:extLst>
              <a:ext uri="{FF2B5EF4-FFF2-40B4-BE49-F238E27FC236}">
                <a16:creationId xmlns:a16="http://schemas.microsoft.com/office/drawing/2014/main" id="{DC9FDE91-BE06-2948-9064-8D3D6792C21B}"/>
              </a:ext>
            </a:extLst>
          </p:cNvPr>
          <p:cNvCxnSpPr>
            <a:cxnSpLocks/>
          </p:cNvCxnSpPr>
          <p:nvPr>
            <p:custDataLst>
              <p:tags r:id="rId9"/>
            </p:custDataLst>
          </p:nvPr>
        </p:nvCxnSpPr>
        <p:spPr bwMode="gray">
          <a:xfrm>
            <a:off x="4079775" y="3645024"/>
            <a:ext cx="7776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Łącznik prosty 10">
            <a:extLst>
              <a:ext uri="{FF2B5EF4-FFF2-40B4-BE49-F238E27FC236}">
                <a16:creationId xmlns:a16="http://schemas.microsoft.com/office/drawing/2014/main" id="{E66653E3-5AD5-7740-A103-032564D082D9}"/>
              </a:ext>
            </a:extLst>
          </p:cNvPr>
          <p:cNvCxnSpPr>
            <a:cxnSpLocks/>
          </p:cNvCxnSpPr>
          <p:nvPr>
            <p:custDataLst>
              <p:tags r:id="rId10"/>
            </p:custDataLst>
          </p:nvPr>
        </p:nvCxnSpPr>
        <p:spPr bwMode="gray">
          <a:xfrm>
            <a:off x="4079775" y="2711732"/>
            <a:ext cx="7776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4" name="Grupa 33">
            <a:extLst>
              <a:ext uri="{FF2B5EF4-FFF2-40B4-BE49-F238E27FC236}">
                <a16:creationId xmlns:a16="http://schemas.microsoft.com/office/drawing/2014/main" id="{7851A1A0-E039-4894-A958-FAEE4E77211A}"/>
              </a:ext>
            </a:extLst>
          </p:cNvPr>
          <p:cNvGrpSpPr>
            <a:grpSpLocks noChangeAspect="1"/>
          </p:cNvGrpSpPr>
          <p:nvPr>
            <p:custDataLst>
              <p:tags r:id="rId11"/>
            </p:custDataLst>
          </p:nvPr>
        </p:nvGrpSpPr>
        <p:grpSpPr>
          <a:xfrm>
            <a:off x="3358950" y="1772816"/>
            <a:ext cx="470553" cy="470553"/>
            <a:chOff x="6819246" y="4642544"/>
            <a:chExt cx="577561" cy="577562"/>
          </a:xfrm>
        </p:grpSpPr>
        <p:sp>
          <p:nvSpPr>
            <p:cNvPr id="40" name="Dowolny kształt: kształt 39">
              <a:extLst>
                <a:ext uri="{FF2B5EF4-FFF2-40B4-BE49-F238E27FC236}">
                  <a16:creationId xmlns:a16="http://schemas.microsoft.com/office/drawing/2014/main" id="{93A973E0-059C-40ED-99E9-F73C01B8DCF7}"/>
                </a:ext>
              </a:extLst>
            </p:cNvPr>
            <p:cNvSpPr/>
            <p:nvPr/>
          </p:nvSpPr>
          <p:spPr>
            <a:xfrm>
              <a:off x="6819246" y="4642544"/>
              <a:ext cx="577561" cy="577562"/>
            </a:xfrm>
            <a:custGeom>
              <a:avLst/>
              <a:gdLst>
                <a:gd name="connsiteX0" fmla="*/ 0 w 432435"/>
                <a:gd name="connsiteY0" fmla="*/ 216218 h 432435"/>
                <a:gd name="connsiteX1" fmla="*/ 216218 w 432435"/>
                <a:gd name="connsiteY1" fmla="*/ 0 h 432435"/>
                <a:gd name="connsiteX2" fmla="*/ 432435 w 432435"/>
                <a:gd name="connsiteY2" fmla="*/ 216218 h 432435"/>
                <a:gd name="connsiteX3" fmla="*/ 216218 w 432435"/>
                <a:gd name="connsiteY3" fmla="*/ 432435 h 432435"/>
                <a:gd name="connsiteX4" fmla="*/ 0 w 432435"/>
                <a:gd name="connsiteY4" fmla="*/ 216218 h 432435"/>
                <a:gd name="connsiteX5" fmla="*/ 0 w 432435"/>
                <a:gd name="connsiteY5" fmla="*/ 216218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5" h="432435">
                  <a:moveTo>
                    <a:pt x="0" y="216218"/>
                  </a:moveTo>
                  <a:cubicBezTo>
                    <a:pt x="0" y="97155"/>
                    <a:pt x="97155" y="0"/>
                    <a:pt x="216218" y="0"/>
                  </a:cubicBezTo>
                  <a:cubicBezTo>
                    <a:pt x="335280" y="0"/>
                    <a:pt x="432435" y="97155"/>
                    <a:pt x="432435" y="216218"/>
                  </a:cubicBezTo>
                  <a:cubicBezTo>
                    <a:pt x="432435" y="335280"/>
                    <a:pt x="335280" y="432435"/>
                    <a:pt x="216218" y="432435"/>
                  </a:cubicBezTo>
                  <a:cubicBezTo>
                    <a:pt x="97155" y="432435"/>
                    <a:pt x="0" y="335280"/>
                    <a:pt x="0" y="216218"/>
                  </a:cubicBezTo>
                  <a:lnTo>
                    <a:pt x="0" y="216218"/>
                  </a:lnTo>
                  <a:close/>
                </a:path>
              </a:pathLst>
            </a:custGeom>
            <a:solidFill>
              <a:srgbClr val="FFE74C"/>
            </a:solidFill>
            <a:ln w="9525" cap="flat">
              <a:noFill/>
              <a:prstDash val="solid"/>
              <a:miter/>
            </a:ln>
          </p:spPr>
          <p:txBody>
            <a:bodyPr rtlCol="0" anchor="ctr"/>
            <a:lstStyle/>
            <a:p>
              <a:endParaRPr lang="pl-PL"/>
            </a:p>
          </p:txBody>
        </p:sp>
        <p:sp>
          <p:nvSpPr>
            <p:cNvPr id="49" name="Dowolny kształt: kształt 48">
              <a:extLst>
                <a:ext uri="{FF2B5EF4-FFF2-40B4-BE49-F238E27FC236}">
                  <a16:creationId xmlns:a16="http://schemas.microsoft.com/office/drawing/2014/main" id="{6B61164D-3C13-4051-8EDE-791D8D3E3593}"/>
                </a:ext>
              </a:extLst>
            </p:cNvPr>
            <p:cNvSpPr/>
            <p:nvPr/>
          </p:nvSpPr>
          <p:spPr>
            <a:xfrm>
              <a:off x="6936283" y="4828280"/>
              <a:ext cx="456705" cy="332034"/>
            </a:xfrm>
            <a:custGeom>
              <a:avLst/>
              <a:gdLst>
                <a:gd name="connsiteX0" fmla="*/ 96202 w 341947"/>
                <a:gd name="connsiteY0" fmla="*/ 248603 h 248602"/>
                <a:gd name="connsiteX1" fmla="*/ 51435 w 341947"/>
                <a:gd name="connsiteY1" fmla="*/ 238125 h 248602"/>
                <a:gd name="connsiteX2" fmla="*/ 20955 w 341947"/>
                <a:gd name="connsiteY2" fmla="*/ 209550 h 248602"/>
                <a:gd name="connsiteX3" fmla="*/ 4763 w 341947"/>
                <a:gd name="connsiteY3" fmla="*/ 169545 h 248602"/>
                <a:gd name="connsiteX4" fmla="*/ 0 w 341947"/>
                <a:gd name="connsiteY4" fmla="*/ 123825 h 248602"/>
                <a:gd name="connsiteX5" fmla="*/ 4763 w 341947"/>
                <a:gd name="connsiteY5" fmla="*/ 78105 h 248602"/>
                <a:gd name="connsiteX6" fmla="*/ 20955 w 341947"/>
                <a:gd name="connsiteY6" fmla="*/ 38100 h 248602"/>
                <a:gd name="connsiteX7" fmla="*/ 51435 w 341947"/>
                <a:gd name="connsiteY7" fmla="*/ 10477 h 248602"/>
                <a:gd name="connsiteX8" fmla="*/ 96202 w 341947"/>
                <a:gd name="connsiteY8" fmla="*/ 0 h 248602"/>
                <a:gd name="connsiteX9" fmla="*/ 140018 w 341947"/>
                <a:gd name="connsiteY9" fmla="*/ 10477 h 248602"/>
                <a:gd name="connsiteX10" fmla="*/ 169545 w 341947"/>
                <a:gd name="connsiteY10" fmla="*/ 38100 h 248602"/>
                <a:gd name="connsiteX11" fmla="*/ 185738 w 341947"/>
                <a:gd name="connsiteY11" fmla="*/ 77153 h 248602"/>
                <a:gd name="connsiteX12" fmla="*/ 190500 w 341947"/>
                <a:gd name="connsiteY12" fmla="*/ 122873 h 248602"/>
                <a:gd name="connsiteX13" fmla="*/ 185738 w 341947"/>
                <a:gd name="connsiteY13" fmla="*/ 168592 h 248602"/>
                <a:gd name="connsiteX14" fmla="*/ 169545 w 341947"/>
                <a:gd name="connsiteY14" fmla="*/ 208598 h 248602"/>
                <a:gd name="connsiteX15" fmla="*/ 140018 w 341947"/>
                <a:gd name="connsiteY15" fmla="*/ 237173 h 248602"/>
                <a:gd name="connsiteX16" fmla="*/ 96202 w 341947"/>
                <a:gd name="connsiteY16" fmla="*/ 248603 h 248602"/>
                <a:gd name="connsiteX17" fmla="*/ 96202 w 341947"/>
                <a:gd name="connsiteY17" fmla="*/ 20955 h 248602"/>
                <a:gd name="connsiteX18" fmla="*/ 61913 w 341947"/>
                <a:gd name="connsiteY18" fmla="*/ 28575 h 248602"/>
                <a:gd name="connsiteX19" fmla="*/ 39053 w 341947"/>
                <a:gd name="connsiteY19" fmla="*/ 49530 h 248602"/>
                <a:gd name="connsiteX20" fmla="*/ 25717 w 341947"/>
                <a:gd name="connsiteY20" fmla="*/ 81915 h 248602"/>
                <a:gd name="connsiteX21" fmla="*/ 20955 w 341947"/>
                <a:gd name="connsiteY21" fmla="*/ 122873 h 248602"/>
                <a:gd name="connsiteX22" fmla="*/ 25717 w 341947"/>
                <a:gd name="connsiteY22" fmla="*/ 163830 h 248602"/>
                <a:gd name="connsiteX23" fmla="*/ 39053 w 341947"/>
                <a:gd name="connsiteY23" fmla="*/ 197167 h 248602"/>
                <a:gd name="connsiteX24" fmla="*/ 61913 w 341947"/>
                <a:gd name="connsiteY24" fmla="*/ 219075 h 248602"/>
                <a:gd name="connsiteX25" fmla="*/ 95250 w 341947"/>
                <a:gd name="connsiteY25" fmla="*/ 226695 h 248602"/>
                <a:gd name="connsiteX26" fmla="*/ 128588 w 341947"/>
                <a:gd name="connsiteY26" fmla="*/ 219075 h 248602"/>
                <a:gd name="connsiteX27" fmla="*/ 151448 w 341947"/>
                <a:gd name="connsiteY27" fmla="*/ 197167 h 248602"/>
                <a:gd name="connsiteX28" fmla="*/ 164783 w 341947"/>
                <a:gd name="connsiteY28" fmla="*/ 163830 h 248602"/>
                <a:gd name="connsiteX29" fmla="*/ 169545 w 341947"/>
                <a:gd name="connsiteY29" fmla="*/ 122873 h 248602"/>
                <a:gd name="connsiteX30" fmla="*/ 164783 w 341947"/>
                <a:gd name="connsiteY30" fmla="*/ 81915 h 248602"/>
                <a:gd name="connsiteX31" fmla="*/ 151448 w 341947"/>
                <a:gd name="connsiteY31" fmla="*/ 49530 h 248602"/>
                <a:gd name="connsiteX32" fmla="*/ 128588 w 341947"/>
                <a:gd name="connsiteY32" fmla="*/ 28575 h 248602"/>
                <a:gd name="connsiteX33" fmla="*/ 96202 w 341947"/>
                <a:gd name="connsiteY33" fmla="*/ 20955 h 248602"/>
                <a:gd name="connsiteX34" fmla="*/ 331470 w 341947"/>
                <a:gd name="connsiteY34" fmla="*/ 242887 h 248602"/>
                <a:gd name="connsiteX35" fmla="*/ 280035 w 341947"/>
                <a:gd name="connsiteY35" fmla="*/ 242887 h 248602"/>
                <a:gd name="connsiteX36" fmla="*/ 269558 w 341947"/>
                <a:gd name="connsiteY36" fmla="*/ 232410 h 248602"/>
                <a:gd name="connsiteX37" fmla="*/ 269558 w 341947"/>
                <a:gd name="connsiteY37" fmla="*/ 95250 h 248602"/>
                <a:gd name="connsiteX38" fmla="*/ 245745 w 341947"/>
                <a:gd name="connsiteY38" fmla="*/ 113348 h 248602"/>
                <a:gd name="connsiteX39" fmla="*/ 238125 w 341947"/>
                <a:gd name="connsiteY39" fmla="*/ 115253 h 248602"/>
                <a:gd name="connsiteX40" fmla="*/ 230505 w 341947"/>
                <a:gd name="connsiteY40" fmla="*/ 110490 h 248602"/>
                <a:gd name="connsiteX41" fmla="*/ 203835 w 341947"/>
                <a:gd name="connsiteY41" fmla="*/ 74295 h 248602"/>
                <a:gd name="connsiteX42" fmla="*/ 205740 w 341947"/>
                <a:gd name="connsiteY42" fmla="*/ 59055 h 248602"/>
                <a:gd name="connsiteX43" fmla="*/ 277178 w 341947"/>
                <a:gd name="connsiteY43" fmla="*/ 6667 h 248602"/>
                <a:gd name="connsiteX44" fmla="*/ 283845 w 341947"/>
                <a:gd name="connsiteY44" fmla="*/ 4763 h 248602"/>
                <a:gd name="connsiteX45" fmla="*/ 331470 w 341947"/>
                <a:gd name="connsiteY45" fmla="*/ 4763 h 248602"/>
                <a:gd name="connsiteX46" fmla="*/ 341948 w 341947"/>
                <a:gd name="connsiteY46" fmla="*/ 15240 h 248602"/>
                <a:gd name="connsiteX47" fmla="*/ 341948 w 341947"/>
                <a:gd name="connsiteY47" fmla="*/ 232410 h 248602"/>
                <a:gd name="connsiteX48" fmla="*/ 331470 w 341947"/>
                <a:gd name="connsiteY48" fmla="*/ 242887 h 248602"/>
                <a:gd name="connsiteX49" fmla="*/ 290513 w 341947"/>
                <a:gd name="connsiteY49" fmla="*/ 221933 h 248602"/>
                <a:gd name="connsiteX50" fmla="*/ 320040 w 341947"/>
                <a:gd name="connsiteY50" fmla="*/ 221933 h 248602"/>
                <a:gd name="connsiteX51" fmla="*/ 320040 w 341947"/>
                <a:gd name="connsiteY51" fmla="*/ 26670 h 248602"/>
                <a:gd name="connsiteX52" fmla="*/ 286703 w 341947"/>
                <a:gd name="connsiteY52" fmla="*/ 26670 h 248602"/>
                <a:gd name="connsiteX53" fmla="*/ 227647 w 341947"/>
                <a:gd name="connsiteY53" fmla="*/ 70485 h 248602"/>
                <a:gd name="connsiteX54" fmla="*/ 240983 w 341947"/>
                <a:gd name="connsiteY54" fmla="*/ 89535 h 248602"/>
                <a:gd name="connsiteX55" fmla="*/ 272415 w 341947"/>
                <a:gd name="connsiteY55" fmla="*/ 64770 h 248602"/>
                <a:gd name="connsiteX56" fmla="*/ 283845 w 341947"/>
                <a:gd name="connsiteY56" fmla="*/ 63817 h 248602"/>
                <a:gd name="connsiteX57" fmla="*/ 289560 w 341947"/>
                <a:gd name="connsiteY57" fmla="*/ 73342 h 248602"/>
                <a:gd name="connsiteX58" fmla="*/ 289560 w 341947"/>
                <a:gd name="connsiteY58" fmla="*/ 221933 h 248602"/>
                <a:gd name="connsiteX59" fmla="*/ 96202 w 341947"/>
                <a:gd name="connsiteY59" fmla="*/ 204787 h 248602"/>
                <a:gd name="connsiteX60" fmla="*/ 71438 w 341947"/>
                <a:gd name="connsiteY60" fmla="*/ 194310 h 248602"/>
                <a:gd name="connsiteX61" fmla="*/ 59055 w 341947"/>
                <a:gd name="connsiteY61" fmla="*/ 172403 h 248602"/>
                <a:gd name="connsiteX62" fmla="*/ 53340 w 341947"/>
                <a:gd name="connsiteY62" fmla="*/ 147638 h 248602"/>
                <a:gd name="connsiteX63" fmla="*/ 52388 w 341947"/>
                <a:gd name="connsiteY63" fmla="*/ 123825 h 248602"/>
                <a:gd name="connsiteX64" fmla="*/ 53340 w 341947"/>
                <a:gd name="connsiteY64" fmla="*/ 100013 h 248602"/>
                <a:gd name="connsiteX65" fmla="*/ 59055 w 341947"/>
                <a:gd name="connsiteY65" fmla="*/ 75248 h 248602"/>
                <a:gd name="connsiteX66" fmla="*/ 71438 w 341947"/>
                <a:gd name="connsiteY66" fmla="*/ 54292 h 248602"/>
                <a:gd name="connsiteX67" fmla="*/ 96202 w 341947"/>
                <a:gd name="connsiteY67" fmla="*/ 43815 h 248602"/>
                <a:gd name="connsiteX68" fmla="*/ 120968 w 341947"/>
                <a:gd name="connsiteY68" fmla="*/ 54292 h 248602"/>
                <a:gd name="connsiteX69" fmla="*/ 132398 w 341947"/>
                <a:gd name="connsiteY69" fmla="*/ 76200 h 248602"/>
                <a:gd name="connsiteX70" fmla="*/ 137160 w 341947"/>
                <a:gd name="connsiteY70" fmla="*/ 100965 h 248602"/>
                <a:gd name="connsiteX71" fmla="*/ 138113 w 341947"/>
                <a:gd name="connsiteY71" fmla="*/ 124778 h 248602"/>
                <a:gd name="connsiteX72" fmla="*/ 137160 w 341947"/>
                <a:gd name="connsiteY72" fmla="*/ 148590 h 248602"/>
                <a:gd name="connsiteX73" fmla="*/ 132398 w 341947"/>
                <a:gd name="connsiteY73" fmla="*/ 173355 h 248602"/>
                <a:gd name="connsiteX74" fmla="*/ 120968 w 341947"/>
                <a:gd name="connsiteY74" fmla="*/ 195262 h 248602"/>
                <a:gd name="connsiteX75" fmla="*/ 96202 w 341947"/>
                <a:gd name="connsiteY75" fmla="*/ 204787 h 248602"/>
                <a:gd name="connsiteX76" fmla="*/ 96202 w 341947"/>
                <a:gd name="connsiteY76" fmla="*/ 64770 h 248602"/>
                <a:gd name="connsiteX77" fmla="*/ 87630 w 341947"/>
                <a:gd name="connsiteY77" fmla="*/ 68580 h 248602"/>
                <a:gd name="connsiteX78" fmla="*/ 80010 w 341947"/>
                <a:gd name="connsiteY78" fmla="*/ 82867 h 248602"/>
                <a:gd name="connsiteX79" fmla="*/ 76200 w 341947"/>
                <a:gd name="connsiteY79" fmla="*/ 102870 h 248602"/>
                <a:gd name="connsiteX80" fmla="*/ 74295 w 341947"/>
                <a:gd name="connsiteY80" fmla="*/ 123825 h 248602"/>
                <a:gd name="connsiteX81" fmla="*/ 75248 w 341947"/>
                <a:gd name="connsiteY81" fmla="*/ 145733 h 248602"/>
                <a:gd name="connsiteX82" fmla="*/ 80010 w 341947"/>
                <a:gd name="connsiteY82" fmla="*/ 166687 h 248602"/>
                <a:gd name="connsiteX83" fmla="*/ 87630 w 341947"/>
                <a:gd name="connsiteY83" fmla="*/ 180975 h 248602"/>
                <a:gd name="connsiteX84" fmla="*/ 96202 w 341947"/>
                <a:gd name="connsiteY84" fmla="*/ 184785 h 248602"/>
                <a:gd name="connsiteX85" fmla="*/ 104775 w 341947"/>
                <a:gd name="connsiteY85" fmla="*/ 180975 h 248602"/>
                <a:gd name="connsiteX86" fmla="*/ 112395 w 341947"/>
                <a:gd name="connsiteY86" fmla="*/ 166687 h 248602"/>
                <a:gd name="connsiteX87" fmla="*/ 116205 w 341947"/>
                <a:gd name="connsiteY87" fmla="*/ 145733 h 248602"/>
                <a:gd name="connsiteX88" fmla="*/ 117158 w 341947"/>
                <a:gd name="connsiteY88" fmla="*/ 123825 h 248602"/>
                <a:gd name="connsiteX89" fmla="*/ 116205 w 341947"/>
                <a:gd name="connsiteY89" fmla="*/ 102870 h 248602"/>
                <a:gd name="connsiteX90" fmla="*/ 112395 w 341947"/>
                <a:gd name="connsiteY90" fmla="*/ 81915 h 248602"/>
                <a:gd name="connsiteX91" fmla="*/ 104775 w 341947"/>
                <a:gd name="connsiteY91" fmla="*/ 67628 h 248602"/>
                <a:gd name="connsiteX92" fmla="*/ 96202 w 341947"/>
                <a:gd name="connsiteY92" fmla="*/ 64770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41947" h="248602">
                  <a:moveTo>
                    <a:pt x="96202" y="248603"/>
                  </a:moveTo>
                  <a:cubicBezTo>
                    <a:pt x="79058" y="248603"/>
                    <a:pt x="63818" y="244792"/>
                    <a:pt x="51435" y="238125"/>
                  </a:cubicBezTo>
                  <a:cubicBezTo>
                    <a:pt x="39053" y="231458"/>
                    <a:pt x="29528" y="221933"/>
                    <a:pt x="20955" y="209550"/>
                  </a:cubicBezTo>
                  <a:cubicBezTo>
                    <a:pt x="13335" y="198120"/>
                    <a:pt x="7620" y="184785"/>
                    <a:pt x="4763" y="169545"/>
                  </a:cubicBezTo>
                  <a:cubicBezTo>
                    <a:pt x="1905" y="155258"/>
                    <a:pt x="0" y="140017"/>
                    <a:pt x="0" y="123825"/>
                  </a:cubicBezTo>
                  <a:cubicBezTo>
                    <a:pt x="0" y="107632"/>
                    <a:pt x="1905" y="92392"/>
                    <a:pt x="4763" y="78105"/>
                  </a:cubicBezTo>
                  <a:cubicBezTo>
                    <a:pt x="8573" y="62865"/>
                    <a:pt x="13335" y="49530"/>
                    <a:pt x="20955" y="38100"/>
                  </a:cubicBezTo>
                  <a:cubicBezTo>
                    <a:pt x="28575" y="26670"/>
                    <a:pt x="39053" y="17145"/>
                    <a:pt x="51435" y="10477"/>
                  </a:cubicBezTo>
                  <a:cubicBezTo>
                    <a:pt x="63818" y="3810"/>
                    <a:pt x="79058" y="0"/>
                    <a:pt x="96202" y="0"/>
                  </a:cubicBezTo>
                  <a:cubicBezTo>
                    <a:pt x="113348" y="0"/>
                    <a:pt x="127635" y="3810"/>
                    <a:pt x="140018" y="10477"/>
                  </a:cubicBezTo>
                  <a:cubicBezTo>
                    <a:pt x="152400" y="17145"/>
                    <a:pt x="161925" y="26670"/>
                    <a:pt x="169545" y="38100"/>
                  </a:cubicBezTo>
                  <a:cubicBezTo>
                    <a:pt x="177165" y="49530"/>
                    <a:pt x="181928" y="62865"/>
                    <a:pt x="185738" y="77153"/>
                  </a:cubicBezTo>
                  <a:cubicBezTo>
                    <a:pt x="188595" y="91440"/>
                    <a:pt x="190500" y="106680"/>
                    <a:pt x="190500" y="122873"/>
                  </a:cubicBezTo>
                  <a:cubicBezTo>
                    <a:pt x="190500" y="139065"/>
                    <a:pt x="188595" y="154305"/>
                    <a:pt x="185738" y="168592"/>
                  </a:cubicBezTo>
                  <a:cubicBezTo>
                    <a:pt x="181928" y="183833"/>
                    <a:pt x="177165" y="197167"/>
                    <a:pt x="169545" y="208598"/>
                  </a:cubicBezTo>
                  <a:cubicBezTo>
                    <a:pt x="161925" y="220028"/>
                    <a:pt x="152400" y="230505"/>
                    <a:pt x="140018" y="237173"/>
                  </a:cubicBezTo>
                  <a:cubicBezTo>
                    <a:pt x="127635" y="244792"/>
                    <a:pt x="113348" y="248603"/>
                    <a:pt x="96202" y="248603"/>
                  </a:cubicBezTo>
                  <a:close/>
                  <a:moveTo>
                    <a:pt x="96202" y="20955"/>
                  </a:moveTo>
                  <a:cubicBezTo>
                    <a:pt x="82868" y="20955"/>
                    <a:pt x="71438" y="23813"/>
                    <a:pt x="61913" y="28575"/>
                  </a:cubicBezTo>
                  <a:cubicBezTo>
                    <a:pt x="52388" y="34290"/>
                    <a:pt x="44768" y="40957"/>
                    <a:pt x="39053" y="49530"/>
                  </a:cubicBezTo>
                  <a:cubicBezTo>
                    <a:pt x="33338" y="59055"/>
                    <a:pt x="28575" y="69532"/>
                    <a:pt x="25717" y="81915"/>
                  </a:cubicBezTo>
                  <a:cubicBezTo>
                    <a:pt x="22860" y="95250"/>
                    <a:pt x="20955" y="108585"/>
                    <a:pt x="20955" y="122873"/>
                  </a:cubicBezTo>
                  <a:cubicBezTo>
                    <a:pt x="20955" y="137160"/>
                    <a:pt x="22860" y="151448"/>
                    <a:pt x="25717" y="163830"/>
                  </a:cubicBezTo>
                  <a:cubicBezTo>
                    <a:pt x="28575" y="176212"/>
                    <a:pt x="33338" y="187642"/>
                    <a:pt x="39053" y="197167"/>
                  </a:cubicBezTo>
                  <a:cubicBezTo>
                    <a:pt x="44768" y="206692"/>
                    <a:pt x="52388" y="213360"/>
                    <a:pt x="61913" y="219075"/>
                  </a:cubicBezTo>
                  <a:cubicBezTo>
                    <a:pt x="71438" y="223837"/>
                    <a:pt x="81915" y="226695"/>
                    <a:pt x="95250" y="226695"/>
                  </a:cubicBezTo>
                  <a:cubicBezTo>
                    <a:pt x="108585" y="226695"/>
                    <a:pt x="120015" y="223837"/>
                    <a:pt x="128588" y="219075"/>
                  </a:cubicBezTo>
                  <a:cubicBezTo>
                    <a:pt x="138113" y="213360"/>
                    <a:pt x="145733" y="206692"/>
                    <a:pt x="151448" y="197167"/>
                  </a:cubicBezTo>
                  <a:cubicBezTo>
                    <a:pt x="157163" y="187642"/>
                    <a:pt x="161925" y="177165"/>
                    <a:pt x="164783" y="163830"/>
                  </a:cubicBezTo>
                  <a:cubicBezTo>
                    <a:pt x="167640" y="150495"/>
                    <a:pt x="169545" y="137160"/>
                    <a:pt x="169545" y="122873"/>
                  </a:cubicBezTo>
                  <a:cubicBezTo>
                    <a:pt x="169545" y="108585"/>
                    <a:pt x="167640" y="94298"/>
                    <a:pt x="164783" y="81915"/>
                  </a:cubicBezTo>
                  <a:cubicBezTo>
                    <a:pt x="161925" y="69532"/>
                    <a:pt x="157163" y="59055"/>
                    <a:pt x="151448" y="49530"/>
                  </a:cubicBezTo>
                  <a:cubicBezTo>
                    <a:pt x="145733" y="40957"/>
                    <a:pt x="138113" y="33338"/>
                    <a:pt x="128588" y="28575"/>
                  </a:cubicBezTo>
                  <a:cubicBezTo>
                    <a:pt x="120015" y="23813"/>
                    <a:pt x="109538" y="20955"/>
                    <a:pt x="96202" y="20955"/>
                  </a:cubicBezTo>
                  <a:close/>
                  <a:moveTo>
                    <a:pt x="331470" y="242887"/>
                  </a:moveTo>
                  <a:lnTo>
                    <a:pt x="280035" y="242887"/>
                  </a:lnTo>
                  <a:cubicBezTo>
                    <a:pt x="274320" y="242887"/>
                    <a:pt x="269558" y="238125"/>
                    <a:pt x="269558" y="232410"/>
                  </a:cubicBezTo>
                  <a:lnTo>
                    <a:pt x="269558" y="95250"/>
                  </a:lnTo>
                  <a:lnTo>
                    <a:pt x="245745" y="113348"/>
                  </a:lnTo>
                  <a:cubicBezTo>
                    <a:pt x="243840" y="115253"/>
                    <a:pt x="240983" y="116205"/>
                    <a:pt x="238125" y="115253"/>
                  </a:cubicBezTo>
                  <a:cubicBezTo>
                    <a:pt x="235268" y="115253"/>
                    <a:pt x="232410" y="113348"/>
                    <a:pt x="230505" y="110490"/>
                  </a:cubicBezTo>
                  <a:lnTo>
                    <a:pt x="203835" y="74295"/>
                  </a:lnTo>
                  <a:cubicBezTo>
                    <a:pt x="200025" y="69532"/>
                    <a:pt x="200978" y="62865"/>
                    <a:pt x="205740" y="59055"/>
                  </a:cubicBezTo>
                  <a:lnTo>
                    <a:pt x="277178" y="6667"/>
                  </a:lnTo>
                  <a:cubicBezTo>
                    <a:pt x="279083" y="5715"/>
                    <a:pt x="280988" y="4763"/>
                    <a:pt x="283845" y="4763"/>
                  </a:cubicBezTo>
                  <a:lnTo>
                    <a:pt x="331470" y="4763"/>
                  </a:lnTo>
                  <a:cubicBezTo>
                    <a:pt x="337185" y="4763"/>
                    <a:pt x="341948" y="9525"/>
                    <a:pt x="341948" y="15240"/>
                  </a:cubicBezTo>
                  <a:lnTo>
                    <a:pt x="341948" y="232410"/>
                  </a:lnTo>
                  <a:cubicBezTo>
                    <a:pt x="341948" y="238125"/>
                    <a:pt x="337185" y="242887"/>
                    <a:pt x="331470" y="242887"/>
                  </a:cubicBezTo>
                  <a:close/>
                  <a:moveTo>
                    <a:pt x="290513" y="221933"/>
                  </a:moveTo>
                  <a:lnTo>
                    <a:pt x="320040" y="221933"/>
                  </a:lnTo>
                  <a:lnTo>
                    <a:pt x="320040" y="26670"/>
                  </a:lnTo>
                  <a:lnTo>
                    <a:pt x="286703" y="26670"/>
                  </a:lnTo>
                  <a:lnTo>
                    <a:pt x="227647" y="70485"/>
                  </a:lnTo>
                  <a:lnTo>
                    <a:pt x="240983" y="89535"/>
                  </a:lnTo>
                  <a:lnTo>
                    <a:pt x="272415" y="64770"/>
                  </a:lnTo>
                  <a:cubicBezTo>
                    <a:pt x="275273" y="61913"/>
                    <a:pt x="280035" y="61913"/>
                    <a:pt x="283845" y="63817"/>
                  </a:cubicBezTo>
                  <a:cubicBezTo>
                    <a:pt x="287655" y="65723"/>
                    <a:pt x="289560" y="69532"/>
                    <a:pt x="289560" y="73342"/>
                  </a:cubicBezTo>
                  <a:lnTo>
                    <a:pt x="289560" y="221933"/>
                  </a:lnTo>
                  <a:close/>
                  <a:moveTo>
                    <a:pt x="96202" y="204787"/>
                  </a:moveTo>
                  <a:cubicBezTo>
                    <a:pt x="86677" y="204787"/>
                    <a:pt x="78105" y="200978"/>
                    <a:pt x="71438" y="194310"/>
                  </a:cubicBezTo>
                  <a:cubicBezTo>
                    <a:pt x="66675" y="188595"/>
                    <a:pt x="61913" y="180975"/>
                    <a:pt x="59055" y="172403"/>
                  </a:cubicBezTo>
                  <a:cubicBezTo>
                    <a:pt x="56198" y="164783"/>
                    <a:pt x="54293" y="156210"/>
                    <a:pt x="53340" y="147638"/>
                  </a:cubicBezTo>
                  <a:cubicBezTo>
                    <a:pt x="52388" y="139065"/>
                    <a:pt x="52388" y="131445"/>
                    <a:pt x="52388" y="123825"/>
                  </a:cubicBezTo>
                  <a:cubicBezTo>
                    <a:pt x="52388" y="117157"/>
                    <a:pt x="52388" y="108585"/>
                    <a:pt x="53340" y="100013"/>
                  </a:cubicBezTo>
                  <a:cubicBezTo>
                    <a:pt x="54293" y="91440"/>
                    <a:pt x="56198" y="82867"/>
                    <a:pt x="59055" y="75248"/>
                  </a:cubicBezTo>
                  <a:cubicBezTo>
                    <a:pt x="61913" y="66675"/>
                    <a:pt x="65723" y="60007"/>
                    <a:pt x="71438" y="54292"/>
                  </a:cubicBezTo>
                  <a:cubicBezTo>
                    <a:pt x="78105" y="47625"/>
                    <a:pt x="86677" y="43815"/>
                    <a:pt x="96202" y="43815"/>
                  </a:cubicBezTo>
                  <a:cubicBezTo>
                    <a:pt x="105727" y="43815"/>
                    <a:pt x="114300" y="47625"/>
                    <a:pt x="120968" y="54292"/>
                  </a:cubicBezTo>
                  <a:cubicBezTo>
                    <a:pt x="125730" y="60007"/>
                    <a:pt x="130493" y="67628"/>
                    <a:pt x="132398" y="76200"/>
                  </a:cubicBezTo>
                  <a:cubicBezTo>
                    <a:pt x="135255" y="83820"/>
                    <a:pt x="136208" y="92392"/>
                    <a:pt x="137160" y="100965"/>
                  </a:cubicBezTo>
                  <a:cubicBezTo>
                    <a:pt x="138113" y="109538"/>
                    <a:pt x="138113" y="117157"/>
                    <a:pt x="138113" y="124778"/>
                  </a:cubicBezTo>
                  <a:cubicBezTo>
                    <a:pt x="138113" y="132398"/>
                    <a:pt x="138113" y="140017"/>
                    <a:pt x="137160" y="148590"/>
                  </a:cubicBezTo>
                  <a:cubicBezTo>
                    <a:pt x="136208" y="157163"/>
                    <a:pt x="134303" y="165735"/>
                    <a:pt x="132398" y="173355"/>
                  </a:cubicBezTo>
                  <a:cubicBezTo>
                    <a:pt x="129540" y="181928"/>
                    <a:pt x="125730" y="188595"/>
                    <a:pt x="120968" y="195262"/>
                  </a:cubicBezTo>
                  <a:cubicBezTo>
                    <a:pt x="114300" y="200978"/>
                    <a:pt x="105727" y="204787"/>
                    <a:pt x="96202" y="204787"/>
                  </a:cubicBezTo>
                  <a:close/>
                  <a:moveTo>
                    <a:pt x="96202" y="64770"/>
                  </a:moveTo>
                  <a:cubicBezTo>
                    <a:pt x="92393" y="64770"/>
                    <a:pt x="89535" y="65723"/>
                    <a:pt x="87630" y="68580"/>
                  </a:cubicBezTo>
                  <a:cubicBezTo>
                    <a:pt x="84773" y="72390"/>
                    <a:pt x="81915" y="77153"/>
                    <a:pt x="80010" y="82867"/>
                  </a:cubicBezTo>
                  <a:cubicBezTo>
                    <a:pt x="78105" y="89535"/>
                    <a:pt x="76200" y="96203"/>
                    <a:pt x="76200" y="102870"/>
                  </a:cubicBezTo>
                  <a:cubicBezTo>
                    <a:pt x="74295" y="110490"/>
                    <a:pt x="74295" y="117157"/>
                    <a:pt x="74295" y="123825"/>
                  </a:cubicBezTo>
                  <a:cubicBezTo>
                    <a:pt x="74295" y="130492"/>
                    <a:pt x="74295" y="138113"/>
                    <a:pt x="75248" y="145733"/>
                  </a:cubicBezTo>
                  <a:cubicBezTo>
                    <a:pt x="76200" y="153353"/>
                    <a:pt x="77152" y="160020"/>
                    <a:pt x="80010" y="166687"/>
                  </a:cubicBezTo>
                  <a:cubicBezTo>
                    <a:pt x="81915" y="172403"/>
                    <a:pt x="84773" y="177165"/>
                    <a:pt x="87630" y="180975"/>
                  </a:cubicBezTo>
                  <a:cubicBezTo>
                    <a:pt x="89535" y="183833"/>
                    <a:pt x="92393" y="184785"/>
                    <a:pt x="96202" y="184785"/>
                  </a:cubicBezTo>
                  <a:cubicBezTo>
                    <a:pt x="100013" y="184785"/>
                    <a:pt x="101918" y="183833"/>
                    <a:pt x="104775" y="180975"/>
                  </a:cubicBezTo>
                  <a:cubicBezTo>
                    <a:pt x="107633" y="177165"/>
                    <a:pt x="110490" y="172403"/>
                    <a:pt x="112395" y="166687"/>
                  </a:cubicBezTo>
                  <a:cubicBezTo>
                    <a:pt x="114300" y="160020"/>
                    <a:pt x="116205" y="153353"/>
                    <a:pt x="116205" y="145733"/>
                  </a:cubicBezTo>
                  <a:cubicBezTo>
                    <a:pt x="117158" y="138113"/>
                    <a:pt x="117158" y="130492"/>
                    <a:pt x="117158" y="123825"/>
                  </a:cubicBezTo>
                  <a:cubicBezTo>
                    <a:pt x="117158" y="117157"/>
                    <a:pt x="117158" y="110490"/>
                    <a:pt x="116205" y="102870"/>
                  </a:cubicBezTo>
                  <a:cubicBezTo>
                    <a:pt x="115252" y="95250"/>
                    <a:pt x="114300" y="88582"/>
                    <a:pt x="112395" y="81915"/>
                  </a:cubicBezTo>
                  <a:cubicBezTo>
                    <a:pt x="110490" y="76200"/>
                    <a:pt x="107633" y="71438"/>
                    <a:pt x="104775" y="67628"/>
                  </a:cubicBezTo>
                  <a:cubicBezTo>
                    <a:pt x="101918" y="65723"/>
                    <a:pt x="100013" y="64770"/>
                    <a:pt x="96202" y="64770"/>
                  </a:cubicBezTo>
                  <a:close/>
                </a:path>
              </a:pathLst>
            </a:custGeom>
            <a:solidFill>
              <a:srgbClr val="020204"/>
            </a:solidFill>
            <a:ln w="9525" cap="flat">
              <a:noFill/>
              <a:prstDash val="solid"/>
              <a:miter/>
            </a:ln>
          </p:spPr>
          <p:txBody>
            <a:bodyPr rtlCol="0" anchor="ctr"/>
            <a:lstStyle/>
            <a:p>
              <a:endParaRPr lang="pl-PL"/>
            </a:p>
          </p:txBody>
        </p:sp>
      </p:grpSp>
      <p:grpSp>
        <p:nvGrpSpPr>
          <p:cNvPr id="64" name="Grupa 63">
            <a:extLst>
              <a:ext uri="{FF2B5EF4-FFF2-40B4-BE49-F238E27FC236}">
                <a16:creationId xmlns:a16="http://schemas.microsoft.com/office/drawing/2014/main" id="{28601A28-358C-4C40-B9B8-E5E6F9F9FFD1}"/>
              </a:ext>
            </a:extLst>
          </p:cNvPr>
          <p:cNvGrpSpPr>
            <a:grpSpLocks noChangeAspect="1"/>
          </p:cNvGrpSpPr>
          <p:nvPr>
            <p:custDataLst>
              <p:tags r:id="rId12"/>
            </p:custDataLst>
          </p:nvPr>
        </p:nvGrpSpPr>
        <p:grpSpPr>
          <a:xfrm>
            <a:off x="3358950" y="2997547"/>
            <a:ext cx="512012" cy="470553"/>
            <a:chOff x="7468048" y="4642544"/>
            <a:chExt cx="628448" cy="577562"/>
          </a:xfrm>
        </p:grpSpPr>
        <p:sp>
          <p:nvSpPr>
            <p:cNvPr id="65" name="Dowolny kształt: kształt 64">
              <a:extLst>
                <a:ext uri="{FF2B5EF4-FFF2-40B4-BE49-F238E27FC236}">
                  <a16:creationId xmlns:a16="http://schemas.microsoft.com/office/drawing/2014/main" id="{F3794FDE-3171-41E3-8E92-337D17895860}"/>
                </a:ext>
              </a:extLst>
            </p:cNvPr>
            <p:cNvSpPr/>
            <p:nvPr/>
          </p:nvSpPr>
          <p:spPr>
            <a:xfrm>
              <a:off x="7468048" y="4642544"/>
              <a:ext cx="577561" cy="577562"/>
            </a:xfrm>
            <a:custGeom>
              <a:avLst/>
              <a:gdLst>
                <a:gd name="connsiteX0" fmla="*/ 0 w 432435"/>
                <a:gd name="connsiteY0" fmla="*/ 216218 h 432435"/>
                <a:gd name="connsiteX1" fmla="*/ 216217 w 432435"/>
                <a:gd name="connsiteY1" fmla="*/ 0 h 432435"/>
                <a:gd name="connsiteX2" fmla="*/ 432435 w 432435"/>
                <a:gd name="connsiteY2" fmla="*/ 216218 h 432435"/>
                <a:gd name="connsiteX3" fmla="*/ 216217 w 432435"/>
                <a:gd name="connsiteY3" fmla="*/ 432435 h 432435"/>
                <a:gd name="connsiteX4" fmla="*/ 0 w 432435"/>
                <a:gd name="connsiteY4" fmla="*/ 216218 h 432435"/>
                <a:gd name="connsiteX5" fmla="*/ 0 w 432435"/>
                <a:gd name="connsiteY5" fmla="*/ 216218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5" h="432435">
                  <a:moveTo>
                    <a:pt x="0" y="216218"/>
                  </a:moveTo>
                  <a:cubicBezTo>
                    <a:pt x="0" y="97155"/>
                    <a:pt x="97155" y="0"/>
                    <a:pt x="216217" y="0"/>
                  </a:cubicBezTo>
                  <a:cubicBezTo>
                    <a:pt x="335280" y="0"/>
                    <a:pt x="432435" y="97155"/>
                    <a:pt x="432435" y="216218"/>
                  </a:cubicBezTo>
                  <a:cubicBezTo>
                    <a:pt x="432435" y="335280"/>
                    <a:pt x="335280" y="432435"/>
                    <a:pt x="216217" y="432435"/>
                  </a:cubicBezTo>
                  <a:cubicBezTo>
                    <a:pt x="97155" y="432435"/>
                    <a:pt x="0" y="335280"/>
                    <a:pt x="0" y="216218"/>
                  </a:cubicBezTo>
                  <a:lnTo>
                    <a:pt x="0" y="216218"/>
                  </a:lnTo>
                  <a:close/>
                </a:path>
              </a:pathLst>
            </a:custGeom>
            <a:solidFill>
              <a:srgbClr val="FFE74C"/>
            </a:solidFill>
            <a:ln w="9525" cap="flat">
              <a:noFill/>
              <a:prstDash val="solid"/>
              <a:miter/>
            </a:ln>
          </p:spPr>
          <p:txBody>
            <a:bodyPr rtlCol="0" anchor="ctr"/>
            <a:lstStyle/>
            <a:p>
              <a:endParaRPr lang="pl-PL"/>
            </a:p>
          </p:txBody>
        </p:sp>
        <p:sp>
          <p:nvSpPr>
            <p:cNvPr id="66" name="Dowolny kształt: kształt 65">
              <a:extLst>
                <a:ext uri="{FF2B5EF4-FFF2-40B4-BE49-F238E27FC236}">
                  <a16:creationId xmlns:a16="http://schemas.microsoft.com/office/drawing/2014/main" id="{841A3025-7AEA-4158-9C43-8CB9CCC398D6}"/>
                </a:ext>
              </a:extLst>
            </p:cNvPr>
            <p:cNvSpPr/>
            <p:nvPr/>
          </p:nvSpPr>
          <p:spPr>
            <a:xfrm>
              <a:off x="7585087" y="4828280"/>
              <a:ext cx="511409" cy="332034"/>
            </a:xfrm>
            <a:custGeom>
              <a:avLst/>
              <a:gdLst>
                <a:gd name="connsiteX0" fmla="*/ 96203 w 382905"/>
                <a:gd name="connsiteY0" fmla="*/ 248603 h 248602"/>
                <a:gd name="connsiteX1" fmla="*/ 51435 w 382905"/>
                <a:gd name="connsiteY1" fmla="*/ 238125 h 248602"/>
                <a:gd name="connsiteX2" fmla="*/ 20955 w 382905"/>
                <a:gd name="connsiteY2" fmla="*/ 209550 h 248602"/>
                <a:gd name="connsiteX3" fmla="*/ 4763 w 382905"/>
                <a:gd name="connsiteY3" fmla="*/ 169545 h 248602"/>
                <a:gd name="connsiteX4" fmla="*/ 0 w 382905"/>
                <a:gd name="connsiteY4" fmla="*/ 123825 h 248602"/>
                <a:gd name="connsiteX5" fmla="*/ 4763 w 382905"/>
                <a:gd name="connsiteY5" fmla="*/ 78105 h 248602"/>
                <a:gd name="connsiteX6" fmla="*/ 20955 w 382905"/>
                <a:gd name="connsiteY6" fmla="*/ 38100 h 248602"/>
                <a:gd name="connsiteX7" fmla="*/ 51435 w 382905"/>
                <a:gd name="connsiteY7" fmla="*/ 10477 h 248602"/>
                <a:gd name="connsiteX8" fmla="*/ 96203 w 382905"/>
                <a:gd name="connsiteY8" fmla="*/ 0 h 248602"/>
                <a:gd name="connsiteX9" fmla="*/ 140018 w 382905"/>
                <a:gd name="connsiteY9" fmla="*/ 10477 h 248602"/>
                <a:gd name="connsiteX10" fmla="*/ 169545 w 382905"/>
                <a:gd name="connsiteY10" fmla="*/ 38100 h 248602"/>
                <a:gd name="connsiteX11" fmla="*/ 185737 w 382905"/>
                <a:gd name="connsiteY11" fmla="*/ 77153 h 248602"/>
                <a:gd name="connsiteX12" fmla="*/ 190500 w 382905"/>
                <a:gd name="connsiteY12" fmla="*/ 122873 h 248602"/>
                <a:gd name="connsiteX13" fmla="*/ 185737 w 382905"/>
                <a:gd name="connsiteY13" fmla="*/ 168592 h 248602"/>
                <a:gd name="connsiteX14" fmla="*/ 169545 w 382905"/>
                <a:gd name="connsiteY14" fmla="*/ 208598 h 248602"/>
                <a:gd name="connsiteX15" fmla="*/ 140018 w 382905"/>
                <a:gd name="connsiteY15" fmla="*/ 237173 h 248602"/>
                <a:gd name="connsiteX16" fmla="*/ 96203 w 382905"/>
                <a:gd name="connsiteY16" fmla="*/ 248603 h 248602"/>
                <a:gd name="connsiteX17" fmla="*/ 96203 w 382905"/>
                <a:gd name="connsiteY17" fmla="*/ 20955 h 248602"/>
                <a:gd name="connsiteX18" fmla="*/ 61912 w 382905"/>
                <a:gd name="connsiteY18" fmla="*/ 28575 h 248602"/>
                <a:gd name="connsiteX19" fmla="*/ 39053 w 382905"/>
                <a:gd name="connsiteY19" fmla="*/ 49530 h 248602"/>
                <a:gd name="connsiteX20" fmla="*/ 25718 w 382905"/>
                <a:gd name="connsiteY20" fmla="*/ 81915 h 248602"/>
                <a:gd name="connsiteX21" fmla="*/ 20955 w 382905"/>
                <a:gd name="connsiteY21" fmla="*/ 122873 h 248602"/>
                <a:gd name="connsiteX22" fmla="*/ 25718 w 382905"/>
                <a:gd name="connsiteY22" fmla="*/ 163830 h 248602"/>
                <a:gd name="connsiteX23" fmla="*/ 39053 w 382905"/>
                <a:gd name="connsiteY23" fmla="*/ 197167 h 248602"/>
                <a:gd name="connsiteX24" fmla="*/ 61912 w 382905"/>
                <a:gd name="connsiteY24" fmla="*/ 219075 h 248602"/>
                <a:gd name="connsiteX25" fmla="*/ 95250 w 382905"/>
                <a:gd name="connsiteY25" fmla="*/ 226695 h 248602"/>
                <a:gd name="connsiteX26" fmla="*/ 128587 w 382905"/>
                <a:gd name="connsiteY26" fmla="*/ 219075 h 248602"/>
                <a:gd name="connsiteX27" fmla="*/ 151447 w 382905"/>
                <a:gd name="connsiteY27" fmla="*/ 197167 h 248602"/>
                <a:gd name="connsiteX28" fmla="*/ 164783 w 382905"/>
                <a:gd name="connsiteY28" fmla="*/ 163830 h 248602"/>
                <a:gd name="connsiteX29" fmla="*/ 169545 w 382905"/>
                <a:gd name="connsiteY29" fmla="*/ 122873 h 248602"/>
                <a:gd name="connsiteX30" fmla="*/ 164783 w 382905"/>
                <a:gd name="connsiteY30" fmla="*/ 81915 h 248602"/>
                <a:gd name="connsiteX31" fmla="*/ 151447 w 382905"/>
                <a:gd name="connsiteY31" fmla="*/ 49530 h 248602"/>
                <a:gd name="connsiteX32" fmla="*/ 128587 w 382905"/>
                <a:gd name="connsiteY32" fmla="*/ 28575 h 248602"/>
                <a:gd name="connsiteX33" fmla="*/ 96203 w 382905"/>
                <a:gd name="connsiteY33" fmla="*/ 20955 h 248602"/>
                <a:gd name="connsiteX34" fmla="*/ 370522 w 382905"/>
                <a:gd name="connsiteY34" fmla="*/ 242887 h 248602"/>
                <a:gd name="connsiteX35" fmla="*/ 214312 w 382905"/>
                <a:gd name="connsiteY35" fmla="*/ 242887 h 248602"/>
                <a:gd name="connsiteX36" fmla="*/ 203835 w 382905"/>
                <a:gd name="connsiteY36" fmla="*/ 232410 h 248602"/>
                <a:gd name="connsiteX37" fmla="*/ 203835 w 382905"/>
                <a:gd name="connsiteY37" fmla="*/ 189548 h 248602"/>
                <a:gd name="connsiteX38" fmla="*/ 207645 w 382905"/>
                <a:gd name="connsiteY38" fmla="*/ 181928 h 248602"/>
                <a:gd name="connsiteX39" fmla="*/ 292418 w 382905"/>
                <a:gd name="connsiteY39" fmla="*/ 105728 h 248602"/>
                <a:gd name="connsiteX40" fmla="*/ 302895 w 382905"/>
                <a:gd name="connsiteY40" fmla="*/ 92392 h 248602"/>
                <a:gd name="connsiteX41" fmla="*/ 305753 w 382905"/>
                <a:gd name="connsiteY41" fmla="*/ 80010 h 248602"/>
                <a:gd name="connsiteX42" fmla="*/ 301943 w 382905"/>
                <a:gd name="connsiteY42" fmla="*/ 68580 h 248602"/>
                <a:gd name="connsiteX43" fmla="*/ 289560 w 382905"/>
                <a:gd name="connsiteY43" fmla="*/ 64770 h 248602"/>
                <a:gd name="connsiteX44" fmla="*/ 276225 w 382905"/>
                <a:gd name="connsiteY44" fmla="*/ 70485 h 248602"/>
                <a:gd name="connsiteX45" fmla="*/ 269558 w 382905"/>
                <a:gd name="connsiteY45" fmla="*/ 88582 h 248602"/>
                <a:gd name="connsiteX46" fmla="*/ 265747 w 382905"/>
                <a:gd name="connsiteY46" fmla="*/ 96203 h 248602"/>
                <a:gd name="connsiteX47" fmla="*/ 258128 w 382905"/>
                <a:gd name="connsiteY47" fmla="*/ 98107 h 248602"/>
                <a:gd name="connsiteX48" fmla="*/ 209550 w 382905"/>
                <a:gd name="connsiteY48" fmla="*/ 91440 h 248602"/>
                <a:gd name="connsiteX49" fmla="*/ 200025 w 382905"/>
                <a:gd name="connsiteY49" fmla="*/ 80010 h 248602"/>
                <a:gd name="connsiteX50" fmla="*/ 210503 w 382905"/>
                <a:gd name="connsiteY50" fmla="*/ 46672 h 248602"/>
                <a:gd name="connsiteX51" fmla="*/ 231458 w 382905"/>
                <a:gd name="connsiteY51" fmla="*/ 21907 h 248602"/>
                <a:gd name="connsiteX52" fmla="*/ 260033 w 382905"/>
                <a:gd name="connsiteY52" fmla="*/ 6667 h 248602"/>
                <a:gd name="connsiteX53" fmla="*/ 325755 w 382905"/>
                <a:gd name="connsiteY53" fmla="*/ 5715 h 248602"/>
                <a:gd name="connsiteX54" fmla="*/ 354330 w 382905"/>
                <a:gd name="connsiteY54" fmla="*/ 20003 h 248602"/>
                <a:gd name="connsiteX55" fmla="*/ 375285 w 382905"/>
                <a:gd name="connsiteY55" fmla="*/ 44767 h 248602"/>
                <a:gd name="connsiteX56" fmla="*/ 382905 w 382905"/>
                <a:gd name="connsiteY56" fmla="*/ 79057 h 248602"/>
                <a:gd name="connsiteX57" fmla="*/ 379095 w 382905"/>
                <a:gd name="connsiteY57" fmla="*/ 102870 h 248602"/>
                <a:gd name="connsiteX58" fmla="*/ 369570 w 382905"/>
                <a:gd name="connsiteY58" fmla="*/ 122873 h 248602"/>
                <a:gd name="connsiteX59" fmla="*/ 356235 w 382905"/>
                <a:gd name="connsiteY59" fmla="*/ 139065 h 248602"/>
                <a:gd name="connsiteX60" fmla="*/ 341947 w 382905"/>
                <a:gd name="connsiteY60" fmla="*/ 153353 h 248602"/>
                <a:gd name="connsiteX61" fmla="*/ 312420 w 382905"/>
                <a:gd name="connsiteY61" fmla="*/ 179070 h 248602"/>
                <a:gd name="connsiteX62" fmla="*/ 372428 w 382905"/>
                <a:gd name="connsiteY62" fmla="*/ 179070 h 248602"/>
                <a:gd name="connsiteX63" fmla="*/ 382905 w 382905"/>
                <a:gd name="connsiteY63" fmla="*/ 189548 h 248602"/>
                <a:gd name="connsiteX64" fmla="*/ 382905 w 382905"/>
                <a:gd name="connsiteY64" fmla="*/ 232410 h 248602"/>
                <a:gd name="connsiteX65" fmla="*/ 370522 w 382905"/>
                <a:gd name="connsiteY65" fmla="*/ 242887 h 248602"/>
                <a:gd name="connsiteX66" fmla="*/ 225743 w 382905"/>
                <a:gd name="connsiteY66" fmla="*/ 221933 h 248602"/>
                <a:gd name="connsiteX67" fmla="*/ 360045 w 382905"/>
                <a:gd name="connsiteY67" fmla="*/ 221933 h 248602"/>
                <a:gd name="connsiteX68" fmla="*/ 360045 w 382905"/>
                <a:gd name="connsiteY68" fmla="*/ 199073 h 248602"/>
                <a:gd name="connsiteX69" fmla="*/ 282893 w 382905"/>
                <a:gd name="connsiteY69" fmla="*/ 199073 h 248602"/>
                <a:gd name="connsiteX70" fmla="*/ 272415 w 382905"/>
                <a:gd name="connsiteY70" fmla="*/ 192405 h 248602"/>
                <a:gd name="connsiteX71" fmla="*/ 275272 w 382905"/>
                <a:gd name="connsiteY71" fmla="*/ 180975 h 248602"/>
                <a:gd name="connsiteX72" fmla="*/ 325755 w 382905"/>
                <a:gd name="connsiteY72" fmla="*/ 136208 h 248602"/>
                <a:gd name="connsiteX73" fmla="*/ 339090 w 382905"/>
                <a:gd name="connsiteY73" fmla="*/ 122873 h 248602"/>
                <a:gd name="connsiteX74" fmla="*/ 349568 w 382905"/>
                <a:gd name="connsiteY74" fmla="*/ 109538 h 248602"/>
                <a:gd name="connsiteX75" fmla="*/ 356235 w 382905"/>
                <a:gd name="connsiteY75" fmla="*/ 95250 h 248602"/>
                <a:gd name="connsiteX76" fmla="*/ 359093 w 382905"/>
                <a:gd name="connsiteY76" fmla="*/ 78105 h 248602"/>
                <a:gd name="connsiteX77" fmla="*/ 353378 w 382905"/>
                <a:gd name="connsiteY77" fmla="*/ 53340 h 248602"/>
                <a:gd name="connsiteX78" fmla="*/ 339090 w 382905"/>
                <a:gd name="connsiteY78" fmla="*/ 36195 h 248602"/>
                <a:gd name="connsiteX79" fmla="*/ 317183 w 382905"/>
                <a:gd name="connsiteY79" fmla="*/ 25717 h 248602"/>
                <a:gd name="connsiteX80" fmla="*/ 264795 w 382905"/>
                <a:gd name="connsiteY80" fmla="*/ 26670 h 248602"/>
                <a:gd name="connsiteX81" fmla="*/ 242887 w 382905"/>
                <a:gd name="connsiteY81" fmla="*/ 38100 h 248602"/>
                <a:gd name="connsiteX82" fmla="*/ 227647 w 382905"/>
                <a:gd name="connsiteY82" fmla="*/ 57150 h 248602"/>
                <a:gd name="connsiteX83" fmla="*/ 221933 w 382905"/>
                <a:gd name="connsiteY83" fmla="*/ 72390 h 248602"/>
                <a:gd name="connsiteX84" fmla="*/ 249555 w 382905"/>
                <a:gd name="connsiteY84" fmla="*/ 76200 h 248602"/>
                <a:gd name="connsiteX85" fmla="*/ 260033 w 382905"/>
                <a:gd name="connsiteY85" fmla="*/ 57150 h 248602"/>
                <a:gd name="connsiteX86" fmla="*/ 288608 w 382905"/>
                <a:gd name="connsiteY86" fmla="*/ 44767 h 248602"/>
                <a:gd name="connsiteX87" fmla="*/ 315278 w 382905"/>
                <a:gd name="connsiteY87" fmla="*/ 55245 h 248602"/>
                <a:gd name="connsiteX88" fmla="*/ 325755 w 382905"/>
                <a:gd name="connsiteY88" fmla="*/ 81915 h 248602"/>
                <a:gd name="connsiteX89" fmla="*/ 319087 w 382905"/>
                <a:gd name="connsiteY89" fmla="*/ 104775 h 248602"/>
                <a:gd name="connsiteX90" fmla="*/ 304800 w 382905"/>
                <a:gd name="connsiteY90" fmla="*/ 122873 h 248602"/>
                <a:gd name="connsiteX91" fmla="*/ 225743 w 382905"/>
                <a:gd name="connsiteY91" fmla="*/ 194310 h 248602"/>
                <a:gd name="connsiteX92" fmla="*/ 225743 w 382905"/>
                <a:gd name="connsiteY92" fmla="*/ 221933 h 248602"/>
                <a:gd name="connsiteX93" fmla="*/ 96203 w 382905"/>
                <a:gd name="connsiteY93" fmla="*/ 204787 h 248602"/>
                <a:gd name="connsiteX94" fmla="*/ 71437 w 382905"/>
                <a:gd name="connsiteY94" fmla="*/ 194310 h 248602"/>
                <a:gd name="connsiteX95" fmla="*/ 59055 w 382905"/>
                <a:gd name="connsiteY95" fmla="*/ 172403 h 248602"/>
                <a:gd name="connsiteX96" fmla="*/ 53340 w 382905"/>
                <a:gd name="connsiteY96" fmla="*/ 147638 h 248602"/>
                <a:gd name="connsiteX97" fmla="*/ 52387 w 382905"/>
                <a:gd name="connsiteY97" fmla="*/ 123825 h 248602"/>
                <a:gd name="connsiteX98" fmla="*/ 53340 w 382905"/>
                <a:gd name="connsiteY98" fmla="*/ 100013 h 248602"/>
                <a:gd name="connsiteX99" fmla="*/ 59055 w 382905"/>
                <a:gd name="connsiteY99" fmla="*/ 75248 h 248602"/>
                <a:gd name="connsiteX100" fmla="*/ 71437 w 382905"/>
                <a:gd name="connsiteY100" fmla="*/ 54292 h 248602"/>
                <a:gd name="connsiteX101" fmla="*/ 96203 w 382905"/>
                <a:gd name="connsiteY101" fmla="*/ 43815 h 248602"/>
                <a:gd name="connsiteX102" fmla="*/ 120968 w 382905"/>
                <a:gd name="connsiteY102" fmla="*/ 54292 h 248602"/>
                <a:gd name="connsiteX103" fmla="*/ 132397 w 382905"/>
                <a:gd name="connsiteY103" fmla="*/ 76200 h 248602"/>
                <a:gd name="connsiteX104" fmla="*/ 137160 w 382905"/>
                <a:gd name="connsiteY104" fmla="*/ 100965 h 248602"/>
                <a:gd name="connsiteX105" fmla="*/ 138112 w 382905"/>
                <a:gd name="connsiteY105" fmla="*/ 124778 h 248602"/>
                <a:gd name="connsiteX106" fmla="*/ 137160 w 382905"/>
                <a:gd name="connsiteY106" fmla="*/ 148590 h 248602"/>
                <a:gd name="connsiteX107" fmla="*/ 132397 w 382905"/>
                <a:gd name="connsiteY107" fmla="*/ 173355 h 248602"/>
                <a:gd name="connsiteX108" fmla="*/ 120968 w 382905"/>
                <a:gd name="connsiteY108" fmla="*/ 195262 h 248602"/>
                <a:gd name="connsiteX109" fmla="*/ 96203 w 382905"/>
                <a:gd name="connsiteY109" fmla="*/ 204787 h 248602"/>
                <a:gd name="connsiteX110" fmla="*/ 96203 w 382905"/>
                <a:gd name="connsiteY110" fmla="*/ 64770 h 248602"/>
                <a:gd name="connsiteX111" fmla="*/ 87630 w 382905"/>
                <a:gd name="connsiteY111" fmla="*/ 68580 h 248602"/>
                <a:gd name="connsiteX112" fmla="*/ 80010 w 382905"/>
                <a:gd name="connsiteY112" fmla="*/ 82867 h 248602"/>
                <a:gd name="connsiteX113" fmla="*/ 76200 w 382905"/>
                <a:gd name="connsiteY113" fmla="*/ 102870 h 248602"/>
                <a:gd name="connsiteX114" fmla="*/ 75247 w 382905"/>
                <a:gd name="connsiteY114" fmla="*/ 123825 h 248602"/>
                <a:gd name="connsiteX115" fmla="*/ 76200 w 382905"/>
                <a:gd name="connsiteY115" fmla="*/ 145733 h 248602"/>
                <a:gd name="connsiteX116" fmla="*/ 80962 w 382905"/>
                <a:gd name="connsiteY116" fmla="*/ 166687 h 248602"/>
                <a:gd name="connsiteX117" fmla="*/ 88582 w 382905"/>
                <a:gd name="connsiteY117" fmla="*/ 180975 h 248602"/>
                <a:gd name="connsiteX118" fmla="*/ 97155 w 382905"/>
                <a:gd name="connsiteY118" fmla="*/ 184785 h 248602"/>
                <a:gd name="connsiteX119" fmla="*/ 105728 w 382905"/>
                <a:gd name="connsiteY119" fmla="*/ 180975 h 248602"/>
                <a:gd name="connsiteX120" fmla="*/ 113347 w 382905"/>
                <a:gd name="connsiteY120" fmla="*/ 166687 h 248602"/>
                <a:gd name="connsiteX121" fmla="*/ 117157 w 382905"/>
                <a:gd name="connsiteY121" fmla="*/ 145733 h 248602"/>
                <a:gd name="connsiteX122" fmla="*/ 118110 w 382905"/>
                <a:gd name="connsiteY122" fmla="*/ 123825 h 248602"/>
                <a:gd name="connsiteX123" fmla="*/ 117157 w 382905"/>
                <a:gd name="connsiteY123" fmla="*/ 102870 h 248602"/>
                <a:gd name="connsiteX124" fmla="*/ 113347 w 382905"/>
                <a:gd name="connsiteY124" fmla="*/ 81915 h 248602"/>
                <a:gd name="connsiteX125" fmla="*/ 105728 w 382905"/>
                <a:gd name="connsiteY125" fmla="*/ 67628 h 248602"/>
                <a:gd name="connsiteX126" fmla="*/ 96203 w 382905"/>
                <a:gd name="connsiteY126" fmla="*/ 64770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382905" h="248602">
                  <a:moveTo>
                    <a:pt x="96203" y="248603"/>
                  </a:moveTo>
                  <a:cubicBezTo>
                    <a:pt x="79057" y="248603"/>
                    <a:pt x="63818" y="244792"/>
                    <a:pt x="51435" y="238125"/>
                  </a:cubicBezTo>
                  <a:cubicBezTo>
                    <a:pt x="39053" y="231458"/>
                    <a:pt x="29527" y="221933"/>
                    <a:pt x="20955" y="209550"/>
                  </a:cubicBezTo>
                  <a:cubicBezTo>
                    <a:pt x="13335" y="198120"/>
                    <a:pt x="7620" y="184785"/>
                    <a:pt x="4763" y="169545"/>
                  </a:cubicBezTo>
                  <a:cubicBezTo>
                    <a:pt x="1905" y="155258"/>
                    <a:pt x="0" y="140017"/>
                    <a:pt x="0" y="123825"/>
                  </a:cubicBezTo>
                  <a:cubicBezTo>
                    <a:pt x="0" y="107632"/>
                    <a:pt x="1905" y="92392"/>
                    <a:pt x="4763" y="78105"/>
                  </a:cubicBezTo>
                  <a:cubicBezTo>
                    <a:pt x="8572" y="62865"/>
                    <a:pt x="13335" y="49530"/>
                    <a:pt x="20955" y="38100"/>
                  </a:cubicBezTo>
                  <a:cubicBezTo>
                    <a:pt x="28575" y="26670"/>
                    <a:pt x="39053" y="17145"/>
                    <a:pt x="51435" y="10477"/>
                  </a:cubicBezTo>
                  <a:cubicBezTo>
                    <a:pt x="63818" y="3810"/>
                    <a:pt x="79057" y="0"/>
                    <a:pt x="96203" y="0"/>
                  </a:cubicBezTo>
                  <a:cubicBezTo>
                    <a:pt x="113347" y="0"/>
                    <a:pt x="127635" y="3810"/>
                    <a:pt x="140018" y="10477"/>
                  </a:cubicBezTo>
                  <a:cubicBezTo>
                    <a:pt x="152400" y="17145"/>
                    <a:pt x="161925" y="26670"/>
                    <a:pt x="169545" y="38100"/>
                  </a:cubicBezTo>
                  <a:cubicBezTo>
                    <a:pt x="177165" y="49530"/>
                    <a:pt x="181928" y="62865"/>
                    <a:pt x="185737" y="77153"/>
                  </a:cubicBezTo>
                  <a:cubicBezTo>
                    <a:pt x="188595" y="91440"/>
                    <a:pt x="190500" y="106680"/>
                    <a:pt x="190500" y="122873"/>
                  </a:cubicBezTo>
                  <a:cubicBezTo>
                    <a:pt x="190500" y="139065"/>
                    <a:pt x="188595" y="154305"/>
                    <a:pt x="185737" y="168592"/>
                  </a:cubicBezTo>
                  <a:cubicBezTo>
                    <a:pt x="181928" y="183833"/>
                    <a:pt x="177165" y="197167"/>
                    <a:pt x="169545" y="208598"/>
                  </a:cubicBezTo>
                  <a:cubicBezTo>
                    <a:pt x="161925" y="220028"/>
                    <a:pt x="152400" y="230505"/>
                    <a:pt x="140018" y="237173"/>
                  </a:cubicBezTo>
                  <a:cubicBezTo>
                    <a:pt x="128587" y="244792"/>
                    <a:pt x="113347" y="248603"/>
                    <a:pt x="96203" y="248603"/>
                  </a:cubicBezTo>
                  <a:close/>
                  <a:moveTo>
                    <a:pt x="96203" y="20955"/>
                  </a:moveTo>
                  <a:cubicBezTo>
                    <a:pt x="82868" y="20955"/>
                    <a:pt x="71437" y="23813"/>
                    <a:pt x="61912" y="28575"/>
                  </a:cubicBezTo>
                  <a:cubicBezTo>
                    <a:pt x="52387" y="34290"/>
                    <a:pt x="44768" y="40957"/>
                    <a:pt x="39053" y="49530"/>
                  </a:cubicBezTo>
                  <a:cubicBezTo>
                    <a:pt x="33338" y="59055"/>
                    <a:pt x="28575" y="69532"/>
                    <a:pt x="25718" y="81915"/>
                  </a:cubicBezTo>
                  <a:cubicBezTo>
                    <a:pt x="22860" y="95250"/>
                    <a:pt x="20955" y="108585"/>
                    <a:pt x="20955" y="122873"/>
                  </a:cubicBezTo>
                  <a:cubicBezTo>
                    <a:pt x="20955" y="137160"/>
                    <a:pt x="22860" y="151448"/>
                    <a:pt x="25718" y="163830"/>
                  </a:cubicBezTo>
                  <a:cubicBezTo>
                    <a:pt x="28575" y="176212"/>
                    <a:pt x="33338" y="187642"/>
                    <a:pt x="39053" y="197167"/>
                  </a:cubicBezTo>
                  <a:cubicBezTo>
                    <a:pt x="44768" y="206692"/>
                    <a:pt x="52387" y="213360"/>
                    <a:pt x="61912" y="219075"/>
                  </a:cubicBezTo>
                  <a:cubicBezTo>
                    <a:pt x="71437" y="223837"/>
                    <a:pt x="81915" y="226695"/>
                    <a:pt x="95250" y="226695"/>
                  </a:cubicBezTo>
                  <a:cubicBezTo>
                    <a:pt x="108585" y="226695"/>
                    <a:pt x="120015" y="223837"/>
                    <a:pt x="128587" y="219075"/>
                  </a:cubicBezTo>
                  <a:cubicBezTo>
                    <a:pt x="138112" y="213360"/>
                    <a:pt x="145733" y="206692"/>
                    <a:pt x="151447" y="197167"/>
                  </a:cubicBezTo>
                  <a:cubicBezTo>
                    <a:pt x="157162" y="187642"/>
                    <a:pt x="161925" y="177165"/>
                    <a:pt x="164783" y="163830"/>
                  </a:cubicBezTo>
                  <a:cubicBezTo>
                    <a:pt x="167640" y="150495"/>
                    <a:pt x="169545" y="137160"/>
                    <a:pt x="169545" y="122873"/>
                  </a:cubicBezTo>
                  <a:cubicBezTo>
                    <a:pt x="169545" y="108585"/>
                    <a:pt x="167640" y="94298"/>
                    <a:pt x="164783" y="81915"/>
                  </a:cubicBezTo>
                  <a:cubicBezTo>
                    <a:pt x="161925" y="69532"/>
                    <a:pt x="157162" y="59055"/>
                    <a:pt x="151447" y="49530"/>
                  </a:cubicBezTo>
                  <a:cubicBezTo>
                    <a:pt x="145733" y="40957"/>
                    <a:pt x="138112" y="33338"/>
                    <a:pt x="128587" y="28575"/>
                  </a:cubicBezTo>
                  <a:cubicBezTo>
                    <a:pt x="120968" y="23813"/>
                    <a:pt x="109537" y="20955"/>
                    <a:pt x="96203" y="20955"/>
                  </a:cubicBezTo>
                  <a:close/>
                  <a:moveTo>
                    <a:pt x="370522" y="242887"/>
                  </a:moveTo>
                  <a:lnTo>
                    <a:pt x="214312" y="242887"/>
                  </a:lnTo>
                  <a:cubicBezTo>
                    <a:pt x="208597" y="242887"/>
                    <a:pt x="203835" y="238125"/>
                    <a:pt x="203835" y="232410"/>
                  </a:cubicBezTo>
                  <a:lnTo>
                    <a:pt x="203835" y="189548"/>
                  </a:lnTo>
                  <a:cubicBezTo>
                    <a:pt x="203835" y="186690"/>
                    <a:pt x="204787" y="183833"/>
                    <a:pt x="207645" y="181928"/>
                  </a:cubicBezTo>
                  <a:lnTo>
                    <a:pt x="292418" y="105728"/>
                  </a:lnTo>
                  <a:cubicBezTo>
                    <a:pt x="297180" y="101917"/>
                    <a:pt x="300037" y="97155"/>
                    <a:pt x="302895" y="92392"/>
                  </a:cubicBezTo>
                  <a:cubicBezTo>
                    <a:pt x="304800" y="88582"/>
                    <a:pt x="305753" y="84773"/>
                    <a:pt x="305753" y="80010"/>
                  </a:cubicBezTo>
                  <a:cubicBezTo>
                    <a:pt x="305753" y="73342"/>
                    <a:pt x="303847" y="70485"/>
                    <a:pt x="301943" y="68580"/>
                  </a:cubicBezTo>
                  <a:cubicBezTo>
                    <a:pt x="299085" y="65723"/>
                    <a:pt x="295275" y="64770"/>
                    <a:pt x="289560" y="64770"/>
                  </a:cubicBezTo>
                  <a:cubicBezTo>
                    <a:pt x="283845" y="64770"/>
                    <a:pt x="280035" y="66675"/>
                    <a:pt x="276225" y="70485"/>
                  </a:cubicBezTo>
                  <a:cubicBezTo>
                    <a:pt x="272415" y="75248"/>
                    <a:pt x="270510" y="80963"/>
                    <a:pt x="269558" y="88582"/>
                  </a:cubicBezTo>
                  <a:cubicBezTo>
                    <a:pt x="269558" y="91440"/>
                    <a:pt x="267653" y="94298"/>
                    <a:pt x="265747" y="96203"/>
                  </a:cubicBezTo>
                  <a:cubicBezTo>
                    <a:pt x="263843" y="98107"/>
                    <a:pt x="260985" y="99060"/>
                    <a:pt x="258128" y="98107"/>
                  </a:cubicBezTo>
                  <a:lnTo>
                    <a:pt x="209550" y="91440"/>
                  </a:lnTo>
                  <a:cubicBezTo>
                    <a:pt x="203835" y="90488"/>
                    <a:pt x="200025" y="85725"/>
                    <a:pt x="200025" y="80010"/>
                  </a:cubicBezTo>
                  <a:cubicBezTo>
                    <a:pt x="200978" y="67628"/>
                    <a:pt x="204787" y="56197"/>
                    <a:pt x="210503" y="46672"/>
                  </a:cubicBezTo>
                  <a:cubicBezTo>
                    <a:pt x="216218" y="37147"/>
                    <a:pt x="222885" y="28575"/>
                    <a:pt x="231458" y="21907"/>
                  </a:cubicBezTo>
                  <a:cubicBezTo>
                    <a:pt x="240030" y="15240"/>
                    <a:pt x="249555" y="9525"/>
                    <a:pt x="260033" y="6667"/>
                  </a:cubicBezTo>
                  <a:cubicBezTo>
                    <a:pt x="280035" y="0"/>
                    <a:pt x="303847" y="0"/>
                    <a:pt x="325755" y="5715"/>
                  </a:cubicBezTo>
                  <a:cubicBezTo>
                    <a:pt x="336233" y="8572"/>
                    <a:pt x="345758" y="13335"/>
                    <a:pt x="354330" y="20003"/>
                  </a:cubicBezTo>
                  <a:cubicBezTo>
                    <a:pt x="362903" y="26670"/>
                    <a:pt x="369570" y="34290"/>
                    <a:pt x="375285" y="44767"/>
                  </a:cubicBezTo>
                  <a:cubicBezTo>
                    <a:pt x="380047" y="54292"/>
                    <a:pt x="382905" y="65723"/>
                    <a:pt x="382905" y="79057"/>
                  </a:cubicBezTo>
                  <a:cubicBezTo>
                    <a:pt x="382905" y="87630"/>
                    <a:pt x="381953" y="96203"/>
                    <a:pt x="379095" y="102870"/>
                  </a:cubicBezTo>
                  <a:cubicBezTo>
                    <a:pt x="377190" y="109538"/>
                    <a:pt x="373380" y="117157"/>
                    <a:pt x="369570" y="122873"/>
                  </a:cubicBezTo>
                  <a:cubicBezTo>
                    <a:pt x="365760" y="128588"/>
                    <a:pt x="360997" y="134303"/>
                    <a:pt x="356235" y="139065"/>
                  </a:cubicBezTo>
                  <a:cubicBezTo>
                    <a:pt x="351472" y="143828"/>
                    <a:pt x="346710" y="148590"/>
                    <a:pt x="341947" y="153353"/>
                  </a:cubicBezTo>
                  <a:lnTo>
                    <a:pt x="312420" y="179070"/>
                  </a:lnTo>
                  <a:lnTo>
                    <a:pt x="372428" y="179070"/>
                  </a:lnTo>
                  <a:cubicBezTo>
                    <a:pt x="378143" y="179070"/>
                    <a:pt x="382905" y="183833"/>
                    <a:pt x="382905" y="189548"/>
                  </a:cubicBezTo>
                  <a:lnTo>
                    <a:pt x="382905" y="232410"/>
                  </a:lnTo>
                  <a:cubicBezTo>
                    <a:pt x="381953" y="238125"/>
                    <a:pt x="377190" y="242887"/>
                    <a:pt x="370522" y="242887"/>
                  </a:cubicBezTo>
                  <a:close/>
                  <a:moveTo>
                    <a:pt x="225743" y="221933"/>
                  </a:moveTo>
                  <a:lnTo>
                    <a:pt x="360045" y="221933"/>
                  </a:lnTo>
                  <a:lnTo>
                    <a:pt x="360045" y="199073"/>
                  </a:lnTo>
                  <a:lnTo>
                    <a:pt x="282893" y="199073"/>
                  </a:lnTo>
                  <a:cubicBezTo>
                    <a:pt x="278130" y="199073"/>
                    <a:pt x="274320" y="196215"/>
                    <a:pt x="272415" y="192405"/>
                  </a:cubicBezTo>
                  <a:cubicBezTo>
                    <a:pt x="270510" y="188595"/>
                    <a:pt x="272415" y="183833"/>
                    <a:pt x="275272" y="180975"/>
                  </a:cubicBezTo>
                  <a:lnTo>
                    <a:pt x="325755" y="136208"/>
                  </a:lnTo>
                  <a:cubicBezTo>
                    <a:pt x="330518" y="132398"/>
                    <a:pt x="335280" y="127635"/>
                    <a:pt x="339090" y="122873"/>
                  </a:cubicBezTo>
                  <a:cubicBezTo>
                    <a:pt x="342900" y="119063"/>
                    <a:pt x="346710" y="114300"/>
                    <a:pt x="349568" y="109538"/>
                  </a:cubicBezTo>
                  <a:cubicBezTo>
                    <a:pt x="352425" y="104775"/>
                    <a:pt x="355283" y="100013"/>
                    <a:pt x="356235" y="95250"/>
                  </a:cubicBezTo>
                  <a:cubicBezTo>
                    <a:pt x="358140" y="90488"/>
                    <a:pt x="359093" y="83820"/>
                    <a:pt x="359093" y="78105"/>
                  </a:cubicBezTo>
                  <a:cubicBezTo>
                    <a:pt x="359093" y="68580"/>
                    <a:pt x="357187" y="60007"/>
                    <a:pt x="353378" y="53340"/>
                  </a:cubicBezTo>
                  <a:cubicBezTo>
                    <a:pt x="349568" y="46672"/>
                    <a:pt x="344805" y="40957"/>
                    <a:pt x="339090" y="36195"/>
                  </a:cubicBezTo>
                  <a:cubicBezTo>
                    <a:pt x="332422" y="31432"/>
                    <a:pt x="325755" y="27622"/>
                    <a:pt x="317183" y="25717"/>
                  </a:cubicBezTo>
                  <a:cubicBezTo>
                    <a:pt x="300037" y="20955"/>
                    <a:pt x="280987" y="20955"/>
                    <a:pt x="264795" y="26670"/>
                  </a:cubicBezTo>
                  <a:cubicBezTo>
                    <a:pt x="256222" y="29528"/>
                    <a:pt x="249555" y="33338"/>
                    <a:pt x="242887" y="38100"/>
                  </a:cubicBezTo>
                  <a:cubicBezTo>
                    <a:pt x="236220" y="42863"/>
                    <a:pt x="231458" y="49530"/>
                    <a:pt x="227647" y="57150"/>
                  </a:cubicBezTo>
                  <a:cubicBezTo>
                    <a:pt x="224790" y="61913"/>
                    <a:pt x="222885" y="66675"/>
                    <a:pt x="221933" y="72390"/>
                  </a:cubicBezTo>
                  <a:lnTo>
                    <a:pt x="249555" y="76200"/>
                  </a:lnTo>
                  <a:cubicBezTo>
                    <a:pt x="251460" y="68580"/>
                    <a:pt x="255270" y="62865"/>
                    <a:pt x="260033" y="57150"/>
                  </a:cubicBezTo>
                  <a:cubicBezTo>
                    <a:pt x="267653" y="48578"/>
                    <a:pt x="277178" y="44767"/>
                    <a:pt x="288608" y="44767"/>
                  </a:cubicBezTo>
                  <a:cubicBezTo>
                    <a:pt x="300037" y="44767"/>
                    <a:pt x="308610" y="48578"/>
                    <a:pt x="315278" y="55245"/>
                  </a:cubicBezTo>
                  <a:cubicBezTo>
                    <a:pt x="321945" y="61913"/>
                    <a:pt x="325755" y="71438"/>
                    <a:pt x="325755" y="81915"/>
                  </a:cubicBezTo>
                  <a:cubicBezTo>
                    <a:pt x="325755" y="90488"/>
                    <a:pt x="323850" y="98107"/>
                    <a:pt x="319087" y="104775"/>
                  </a:cubicBezTo>
                  <a:cubicBezTo>
                    <a:pt x="315278" y="110490"/>
                    <a:pt x="310515" y="117157"/>
                    <a:pt x="304800" y="122873"/>
                  </a:cubicBezTo>
                  <a:lnTo>
                    <a:pt x="225743" y="194310"/>
                  </a:lnTo>
                  <a:lnTo>
                    <a:pt x="225743" y="221933"/>
                  </a:lnTo>
                  <a:close/>
                  <a:moveTo>
                    <a:pt x="96203" y="204787"/>
                  </a:moveTo>
                  <a:cubicBezTo>
                    <a:pt x="86678" y="204787"/>
                    <a:pt x="78105" y="200978"/>
                    <a:pt x="71437" y="194310"/>
                  </a:cubicBezTo>
                  <a:cubicBezTo>
                    <a:pt x="66675" y="188595"/>
                    <a:pt x="61912" y="180975"/>
                    <a:pt x="59055" y="172403"/>
                  </a:cubicBezTo>
                  <a:cubicBezTo>
                    <a:pt x="56197" y="164783"/>
                    <a:pt x="54293" y="156210"/>
                    <a:pt x="53340" y="147638"/>
                  </a:cubicBezTo>
                  <a:cubicBezTo>
                    <a:pt x="52387" y="139065"/>
                    <a:pt x="52387" y="131445"/>
                    <a:pt x="52387" y="123825"/>
                  </a:cubicBezTo>
                  <a:cubicBezTo>
                    <a:pt x="52387" y="117157"/>
                    <a:pt x="52387" y="108585"/>
                    <a:pt x="53340" y="100013"/>
                  </a:cubicBezTo>
                  <a:cubicBezTo>
                    <a:pt x="54293" y="91440"/>
                    <a:pt x="56197" y="82867"/>
                    <a:pt x="59055" y="75248"/>
                  </a:cubicBezTo>
                  <a:cubicBezTo>
                    <a:pt x="61912" y="66675"/>
                    <a:pt x="65722" y="60007"/>
                    <a:pt x="71437" y="54292"/>
                  </a:cubicBezTo>
                  <a:cubicBezTo>
                    <a:pt x="78105" y="47625"/>
                    <a:pt x="86678" y="43815"/>
                    <a:pt x="96203" y="43815"/>
                  </a:cubicBezTo>
                  <a:cubicBezTo>
                    <a:pt x="105728" y="43815"/>
                    <a:pt x="114300" y="47625"/>
                    <a:pt x="120968" y="54292"/>
                  </a:cubicBezTo>
                  <a:cubicBezTo>
                    <a:pt x="125730" y="60007"/>
                    <a:pt x="130493" y="67628"/>
                    <a:pt x="132397" y="76200"/>
                  </a:cubicBezTo>
                  <a:cubicBezTo>
                    <a:pt x="135255" y="83820"/>
                    <a:pt x="136208" y="92392"/>
                    <a:pt x="137160" y="100965"/>
                  </a:cubicBezTo>
                  <a:cubicBezTo>
                    <a:pt x="138112" y="109538"/>
                    <a:pt x="138112" y="117157"/>
                    <a:pt x="138112" y="124778"/>
                  </a:cubicBezTo>
                  <a:cubicBezTo>
                    <a:pt x="138112" y="132398"/>
                    <a:pt x="138112" y="140017"/>
                    <a:pt x="137160" y="148590"/>
                  </a:cubicBezTo>
                  <a:cubicBezTo>
                    <a:pt x="136208" y="157163"/>
                    <a:pt x="134303" y="165735"/>
                    <a:pt x="132397" y="173355"/>
                  </a:cubicBezTo>
                  <a:cubicBezTo>
                    <a:pt x="129540" y="181928"/>
                    <a:pt x="125730" y="188595"/>
                    <a:pt x="120968" y="195262"/>
                  </a:cubicBezTo>
                  <a:cubicBezTo>
                    <a:pt x="114300" y="200978"/>
                    <a:pt x="105728" y="204787"/>
                    <a:pt x="96203" y="204787"/>
                  </a:cubicBezTo>
                  <a:close/>
                  <a:moveTo>
                    <a:pt x="96203" y="64770"/>
                  </a:moveTo>
                  <a:cubicBezTo>
                    <a:pt x="92393" y="64770"/>
                    <a:pt x="89535" y="65723"/>
                    <a:pt x="87630" y="68580"/>
                  </a:cubicBezTo>
                  <a:cubicBezTo>
                    <a:pt x="84772" y="72390"/>
                    <a:pt x="81915" y="77153"/>
                    <a:pt x="80010" y="82867"/>
                  </a:cubicBezTo>
                  <a:cubicBezTo>
                    <a:pt x="78105" y="89535"/>
                    <a:pt x="76200" y="96203"/>
                    <a:pt x="76200" y="102870"/>
                  </a:cubicBezTo>
                  <a:cubicBezTo>
                    <a:pt x="75247" y="110490"/>
                    <a:pt x="75247" y="118110"/>
                    <a:pt x="75247" y="123825"/>
                  </a:cubicBezTo>
                  <a:cubicBezTo>
                    <a:pt x="75247" y="130492"/>
                    <a:pt x="75247" y="138113"/>
                    <a:pt x="76200" y="145733"/>
                  </a:cubicBezTo>
                  <a:cubicBezTo>
                    <a:pt x="77153" y="153353"/>
                    <a:pt x="78105" y="160020"/>
                    <a:pt x="80962" y="166687"/>
                  </a:cubicBezTo>
                  <a:cubicBezTo>
                    <a:pt x="82868" y="172403"/>
                    <a:pt x="85725" y="177165"/>
                    <a:pt x="88582" y="180975"/>
                  </a:cubicBezTo>
                  <a:cubicBezTo>
                    <a:pt x="90487" y="183833"/>
                    <a:pt x="93345" y="184785"/>
                    <a:pt x="97155" y="184785"/>
                  </a:cubicBezTo>
                  <a:cubicBezTo>
                    <a:pt x="100965" y="184785"/>
                    <a:pt x="102870" y="183833"/>
                    <a:pt x="105728" y="180975"/>
                  </a:cubicBezTo>
                  <a:cubicBezTo>
                    <a:pt x="108585" y="177165"/>
                    <a:pt x="111443" y="172403"/>
                    <a:pt x="113347" y="166687"/>
                  </a:cubicBezTo>
                  <a:cubicBezTo>
                    <a:pt x="115253" y="160020"/>
                    <a:pt x="117157" y="153353"/>
                    <a:pt x="117157" y="145733"/>
                  </a:cubicBezTo>
                  <a:cubicBezTo>
                    <a:pt x="118110" y="138113"/>
                    <a:pt x="118110" y="130492"/>
                    <a:pt x="118110" y="123825"/>
                  </a:cubicBezTo>
                  <a:cubicBezTo>
                    <a:pt x="118110" y="117157"/>
                    <a:pt x="118110" y="110490"/>
                    <a:pt x="117157" y="102870"/>
                  </a:cubicBezTo>
                  <a:cubicBezTo>
                    <a:pt x="116205" y="95250"/>
                    <a:pt x="115253" y="88582"/>
                    <a:pt x="113347" y="81915"/>
                  </a:cubicBezTo>
                  <a:cubicBezTo>
                    <a:pt x="111443" y="76200"/>
                    <a:pt x="108585" y="71438"/>
                    <a:pt x="105728" y="67628"/>
                  </a:cubicBezTo>
                  <a:cubicBezTo>
                    <a:pt x="101918" y="65723"/>
                    <a:pt x="100012" y="64770"/>
                    <a:pt x="96203" y="64770"/>
                  </a:cubicBezTo>
                  <a:close/>
                </a:path>
              </a:pathLst>
            </a:custGeom>
            <a:solidFill>
              <a:srgbClr val="020204"/>
            </a:solidFill>
            <a:ln w="9525" cap="flat">
              <a:noFill/>
              <a:prstDash val="solid"/>
              <a:miter/>
            </a:ln>
          </p:spPr>
          <p:txBody>
            <a:bodyPr rtlCol="0" anchor="ctr"/>
            <a:lstStyle/>
            <a:p>
              <a:endParaRPr lang="pl-PL"/>
            </a:p>
          </p:txBody>
        </p:sp>
      </p:grpSp>
      <p:grpSp>
        <p:nvGrpSpPr>
          <p:cNvPr id="67" name="Grupa 66">
            <a:extLst>
              <a:ext uri="{FF2B5EF4-FFF2-40B4-BE49-F238E27FC236}">
                <a16:creationId xmlns:a16="http://schemas.microsoft.com/office/drawing/2014/main" id="{D25A406A-8C4D-4458-AD90-39F234C1048D}"/>
              </a:ext>
            </a:extLst>
          </p:cNvPr>
          <p:cNvGrpSpPr>
            <a:grpSpLocks noChangeAspect="1"/>
          </p:cNvGrpSpPr>
          <p:nvPr>
            <p:custDataLst>
              <p:tags r:id="rId13"/>
            </p:custDataLst>
          </p:nvPr>
        </p:nvGrpSpPr>
        <p:grpSpPr>
          <a:xfrm>
            <a:off x="3358950" y="4221683"/>
            <a:ext cx="512010" cy="470553"/>
            <a:chOff x="8118122" y="4642544"/>
            <a:chExt cx="628446" cy="577562"/>
          </a:xfrm>
        </p:grpSpPr>
        <p:sp>
          <p:nvSpPr>
            <p:cNvPr id="68" name="Dowolny kształt: kształt 67">
              <a:extLst>
                <a:ext uri="{FF2B5EF4-FFF2-40B4-BE49-F238E27FC236}">
                  <a16:creationId xmlns:a16="http://schemas.microsoft.com/office/drawing/2014/main" id="{6C713B6D-3E27-47A2-B034-EE1F9A1C6C57}"/>
                </a:ext>
              </a:extLst>
            </p:cNvPr>
            <p:cNvSpPr/>
            <p:nvPr/>
          </p:nvSpPr>
          <p:spPr>
            <a:xfrm>
              <a:off x="8118122" y="4642544"/>
              <a:ext cx="575017" cy="577562"/>
            </a:xfrm>
            <a:custGeom>
              <a:avLst/>
              <a:gdLst>
                <a:gd name="connsiteX0" fmla="*/ 0 w 430530"/>
                <a:gd name="connsiteY0" fmla="*/ 216218 h 432435"/>
                <a:gd name="connsiteX1" fmla="*/ 215265 w 430530"/>
                <a:gd name="connsiteY1" fmla="*/ 0 h 432435"/>
                <a:gd name="connsiteX2" fmla="*/ 430530 w 430530"/>
                <a:gd name="connsiteY2" fmla="*/ 216218 h 432435"/>
                <a:gd name="connsiteX3" fmla="*/ 215265 w 430530"/>
                <a:gd name="connsiteY3" fmla="*/ 432435 h 432435"/>
                <a:gd name="connsiteX4" fmla="*/ 0 w 430530"/>
                <a:gd name="connsiteY4" fmla="*/ 216218 h 432435"/>
                <a:gd name="connsiteX5" fmla="*/ 0 w 430530"/>
                <a:gd name="connsiteY5" fmla="*/ 216218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530" h="432435">
                  <a:moveTo>
                    <a:pt x="0" y="216218"/>
                  </a:moveTo>
                  <a:cubicBezTo>
                    <a:pt x="0" y="97155"/>
                    <a:pt x="96202" y="0"/>
                    <a:pt x="215265" y="0"/>
                  </a:cubicBezTo>
                  <a:cubicBezTo>
                    <a:pt x="334328" y="0"/>
                    <a:pt x="430530" y="97155"/>
                    <a:pt x="430530" y="216218"/>
                  </a:cubicBezTo>
                  <a:cubicBezTo>
                    <a:pt x="430530" y="335280"/>
                    <a:pt x="334328" y="432435"/>
                    <a:pt x="215265" y="432435"/>
                  </a:cubicBezTo>
                  <a:cubicBezTo>
                    <a:pt x="96202" y="432435"/>
                    <a:pt x="0" y="335280"/>
                    <a:pt x="0" y="216218"/>
                  </a:cubicBezTo>
                  <a:lnTo>
                    <a:pt x="0" y="216218"/>
                  </a:lnTo>
                  <a:close/>
                </a:path>
              </a:pathLst>
            </a:custGeom>
            <a:solidFill>
              <a:srgbClr val="FFE74C"/>
            </a:solidFill>
            <a:ln w="9525" cap="flat">
              <a:noFill/>
              <a:prstDash val="solid"/>
              <a:miter/>
            </a:ln>
          </p:spPr>
          <p:txBody>
            <a:bodyPr rtlCol="0" anchor="ctr"/>
            <a:lstStyle/>
            <a:p>
              <a:endParaRPr lang="pl-PL"/>
            </a:p>
          </p:txBody>
        </p:sp>
        <p:sp>
          <p:nvSpPr>
            <p:cNvPr id="69" name="Dowolny kształt: kształt 68">
              <a:extLst>
                <a:ext uri="{FF2B5EF4-FFF2-40B4-BE49-F238E27FC236}">
                  <a16:creationId xmlns:a16="http://schemas.microsoft.com/office/drawing/2014/main" id="{56FFC604-DAEF-4289-8C8D-1947CE23676F}"/>
                </a:ext>
              </a:extLst>
            </p:cNvPr>
            <p:cNvSpPr/>
            <p:nvPr/>
          </p:nvSpPr>
          <p:spPr>
            <a:xfrm>
              <a:off x="8233888" y="4828280"/>
              <a:ext cx="512680" cy="332034"/>
            </a:xfrm>
            <a:custGeom>
              <a:avLst/>
              <a:gdLst>
                <a:gd name="connsiteX0" fmla="*/ 290513 w 383857"/>
                <a:gd name="connsiteY0" fmla="*/ 248603 h 248602"/>
                <a:gd name="connsiteX1" fmla="*/ 259080 w 383857"/>
                <a:gd name="connsiteY1" fmla="*/ 244792 h 248602"/>
                <a:gd name="connsiteX2" fmla="*/ 230505 w 383857"/>
                <a:gd name="connsiteY2" fmla="*/ 233362 h 248602"/>
                <a:gd name="connsiteX3" fmla="*/ 207645 w 383857"/>
                <a:gd name="connsiteY3" fmla="*/ 213360 h 248602"/>
                <a:gd name="connsiteX4" fmla="*/ 193358 w 383857"/>
                <a:gd name="connsiteY4" fmla="*/ 183833 h 248602"/>
                <a:gd name="connsiteX5" fmla="*/ 194310 w 383857"/>
                <a:gd name="connsiteY5" fmla="*/ 175260 h 248602"/>
                <a:gd name="connsiteX6" fmla="*/ 200978 w 383857"/>
                <a:gd name="connsiteY6" fmla="*/ 170498 h 248602"/>
                <a:gd name="connsiteX7" fmla="*/ 248603 w 383857"/>
                <a:gd name="connsiteY7" fmla="*/ 158115 h 248602"/>
                <a:gd name="connsiteX8" fmla="*/ 261938 w 383857"/>
                <a:gd name="connsiteY8" fmla="*/ 165735 h 248602"/>
                <a:gd name="connsiteX9" fmla="*/ 271463 w 383857"/>
                <a:gd name="connsiteY9" fmla="*/ 179070 h 248602"/>
                <a:gd name="connsiteX10" fmla="*/ 288608 w 383857"/>
                <a:gd name="connsiteY10" fmla="*/ 184785 h 248602"/>
                <a:gd name="connsiteX11" fmla="*/ 297180 w 383857"/>
                <a:gd name="connsiteY11" fmla="*/ 183833 h 248602"/>
                <a:gd name="connsiteX12" fmla="*/ 303848 w 383857"/>
                <a:gd name="connsiteY12" fmla="*/ 180975 h 248602"/>
                <a:gd name="connsiteX13" fmla="*/ 307658 w 383857"/>
                <a:gd name="connsiteY13" fmla="*/ 176212 h 248602"/>
                <a:gd name="connsiteX14" fmla="*/ 309563 w 383857"/>
                <a:gd name="connsiteY14" fmla="*/ 168592 h 248602"/>
                <a:gd name="connsiteX15" fmla="*/ 307658 w 383857"/>
                <a:gd name="connsiteY15" fmla="*/ 160973 h 248602"/>
                <a:gd name="connsiteX16" fmla="*/ 301942 w 383857"/>
                <a:gd name="connsiteY16" fmla="*/ 155258 h 248602"/>
                <a:gd name="connsiteX17" fmla="*/ 290513 w 383857"/>
                <a:gd name="connsiteY17" fmla="*/ 151448 h 248602"/>
                <a:gd name="connsiteX18" fmla="*/ 276225 w 383857"/>
                <a:gd name="connsiteY18" fmla="*/ 150495 h 248602"/>
                <a:gd name="connsiteX19" fmla="*/ 262890 w 383857"/>
                <a:gd name="connsiteY19" fmla="*/ 150495 h 248602"/>
                <a:gd name="connsiteX20" fmla="*/ 252413 w 383857"/>
                <a:gd name="connsiteY20" fmla="*/ 140017 h 248602"/>
                <a:gd name="connsiteX21" fmla="*/ 252413 w 383857"/>
                <a:gd name="connsiteY21" fmla="*/ 102870 h 248602"/>
                <a:gd name="connsiteX22" fmla="*/ 262890 w 383857"/>
                <a:gd name="connsiteY22" fmla="*/ 92392 h 248602"/>
                <a:gd name="connsiteX23" fmla="*/ 278130 w 383857"/>
                <a:gd name="connsiteY23" fmla="*/ 92392 h 248602"/>
                <a:gd name="connsiteX24" fmla="*/ 290513 w 383857"/>
                <a:gd name="connsiteY24" fmla="*/ 91440 h 248602"/>
                <a:gd name="connsiteX25" fmla="*/ 299085 w 383857"/>
                <a:gd name="connsiteY25" fmla="*/ 88582 h 248602"/>
                <a:gd name="connsiteX26" fmla="*/ 303848 w 383857"/>
                <a:gd name="connsiteY26" fmla="*/ 84773 h 248602"/>
                <a:gd name="connsiteX27" fmla="*/ 304800 w 383857"/>
                <a:gd name="connsiteY27" fmla="*/ 78105 h 248602"/>
                <a:gd name="connsiteX28" fmla="*/ 300990 w 383857"/>
                <a:gd name="connsiteY28" fmla="*/ 69532 h 248602"/>
                <a:gd name="connsiteX29" fmla="*/ 276225 w 383857"/>
                <a:gd name="connsiteY29" fmla="*/ 69532 h 248602"/>
                <a:gd name="connsiteX30" fmla="*/ 269558 w 383857"/>
                <a:gd name="connsiteY30" fmla="*/ 80963 h 248602"/>
                <a:gd name="connsiteX31" fmla="*/ 264795 w 383857"/>
                <a:gd name="connsiteY31" fmla="*/ 87630 h 248602"/>
                <a:gd name="connsiteX32" fmla="*/ 256223 w 383857"/>
                <a:gd name="connsiteY32" fmla="*/ 88582 h 248602"/>
                <a:gd name="connsiteX33" fmla="*/ 208598 w 383857"/>
                <a:gd name="connsiteY33" fmla="*/ 78105 h 248602"/>
                <a:gd name="connsiteX34" fmla="*/ 201930 w 383857"/>
                <a:gd name="connsiteY34" fmla="*/ 73342 h 248602"/>
                <a:gd name="connsiteX35" fmla="*/ 200978 w 383857"/>
                <a:gd name="connsiteY35" fmla="*/ 64770 h 248602"/>
                <a:gd name="connsiteX36" fmla="*/ 214313 w 383857"/>
                <a:gd name="connsiteY36" fmla="*/ 37147 h 248602"/>
                <a:gd name="connsiteX37" fmla="*/ 236220 w 383857"/>
                <a:gd name="connsiteY37" fmla="*/ 17145 h 248602"/>
                <a:gd name="connsiteX38" fmla="*/ 262890 w 383857"/>
                <a:gd name="connsiteY38" fmla="*/ 5715 h 248602"/>
                <a:gd name="connsiteX39" fmla="*/ 322898 w 383857"/>
                <a:gd name="connsiteY39" fmla="*/ 5715 h 248602"/>
                <a:gd name="connsiteX40" fmla="*/ 350520 w 383857"/>
                <a:gd name="connsiteY40" fmla="*/ 19050 h 248602"/>
                <a:gd name="connsiteX41" fmla="*/ 370523 w 383857"/>
                <a:gd name="connsiteY41" fmla="*/ 41910 h 248602"/>
                <a:gd name="connsiteX42" fmla="*/ 378142 w 383857"/>
                <a:gd name="connsiteY42" fmla="*/ 74295 h 248602"/>
                <a:gd name="connsiteX43" fmla="*/ 365760 w 383857"/>
                <a:gd name="connsiteY43" fmla="*/ 111442 h 248602"/>
                <a:gd name="connsiteX44" fmla="*/ 355283 w 383857"/>
                <a:gd name="connsiteY44" fmla="*/ 120967 h 248602"/>
                <a:gd name="connsiteX45" fmla="*/ 369570 w 383857"/>
                <a:gd name="connsiteY45" fmla="*/ 133350 h 248602"/>
                <a:gd name="connsiteX46" fmla="*/ 380048 w 383857"/>
                <a:gd name="connsiteY46" fmla="*/ 151448 h 248602"/>
                <a:gd name="connsiteX47" fmla="*/ 383858 w 383857"/>
                <a:gd name="connsiteY47" fmla="*/ 172403 h 248602"/>
                <a:gd name="connsiteX48" fmla="*/ 375285 w 383857"/>
                <a:gd name="connsiteY48" fmla="*/ 208598 h 248602"/>
                <a:gd name="connsiteX49" fmla="*/ 353378 w 383857"/>
                <a:gd name="connsiteY49" fmla="*/ 233362 h 248602"/>
                <a:gd name="connsiteX50" fmla="*/ 323850 w 383857"/>
                <a:gd name="connsiteY50" fmla="*/ 247650 h 248602"/>
                <a:gd name="connsiteX51" fmla="*/ 290513 w 383857"/>
                <a:gd name="connsiteY51" fmla="*/ 248603 h 248602"/>
                <a:gd name="connsiteX52" fmla="*/ 218123 w 383857"/>
                <a:gd name="connsiteY52" fmla="*/ 188595 h 248602"/>
                <a:gd name="connsiteX53" fmla="*/ 225742 w 383857"/>
                <a:gd name="connsiteY53" fmla="*/ 200978 h 248602"/>
                <a:gd name="connsiteX54" fmla="*/ 242888 w 383857"/>
                <a:gd name="connsiteY54" fmla="*/ 216217 h 248602"/>
                <a:gd name="connsiteX55" fmla="*/ 264795 w 383857"/>
                <a:gd name="connsiteY55" fmla="*/ 224790 h 248602"/>
                <a:gd name="connsiteX56" fmla="*/ 317183 w 383857"/>
                <a:gd name="connsiteY56" fmla="*/ 223837 h 248602"/>
                <a:gd name="connsiteX57" fmla="*/ 340042 w 383857"/>
                <a:gd name="connsiteY57" fmla="*/ 213360 h 248602"/>
                <a:gd name="connsiteX58" fmla="*/ 355283 w 383857"/>
                <a:gd name="connsiteY58" fmla="*/ 195262 h 248602"/>
                <a:gd name="connsiteX59" fmla="*/ 360998 w 383857"/>
                <a:gd name="connsiteY59" fmla="*/ 169545 h 248602"/>
                <a:gd name="connsiteX60" fmla="*/ 359092 w 383857"/>
                <a:gd name="connsiteY60" fmla="*/ 156210 h 248602"/>
                <a:gd name="connsiteX61" fmla="*/ 352425 w 383857"/>
                <a:gd name="connsiteY61" fmla="*/ 144780 h 248602"/>
                <a:gd name="connsiteX62" fmla="*/ 341948 w 383857"/>
                <a:gd name="connsiteY62" fmla="*/ 136208 h 248602"/>
                <a:gd name="connsiteX63" fmla="*/ 328613 w 383857"/>
                <a:gd name="connsiteY63" fmla="*/ 130492 h 248602"/>
                <a:gd name="connsiteX64" fmla="*/ 320040 w 383857"/>
                <a:gd name="connsiteY64" fmla="*/ 120015 h 248602"/>
                <a:gd name="connsiteX65" fmla="*/ 327660 w 383857"/>
                <a:gd name="connsiteY65" fmla="*/ 108585 h 248602"/>
                <a:gd name="connsiteX66" fmla="*/ 348615 w 383857"/>
                <a:gd name="connsiteY66" fmla="*/ 95250 h 248602"/>
                <a:gd name="connsiteX67" fmla="*/ 356235 w 383857"/>
                <a:gd name="connsiteY67" fmla="*/ 71438 h 248602"/>
                <a:gd name="connsiteX68" fmla="*/ 351473 w 383857"/>
                <a:gd name="connsiteY68" fmla="*/ 49530 h 248602"/>
                <a:gd name="connsiteX69" fmla="*/ 337185 w 383857"/>
                <a:gd name="connsiteY69" fmla="*/ 34290 h 248602"/>
                <a:gd name="connsiteX70" fmla="*/ 316230 w 383857"/>
                <a:gd name="connsiteY70" fmla="*/ 24765 h 248602"/>
                <a:gd name="connsiteX71" fmla="*/ 267653 w 383857"/>
                <a:gd name="connsiteY71" fmla="*/ 24765 h 248602"/>
                <a:gd name="connsiteX72" fmla="*/ 246698 w 383857"/>
                <a:gd name="connsiteY72" fmla="*/ 34290 h 248602"/>
                <a:gd name="connsiteX73" fmla="*/ 230505 w 383857"/>
                <a:gd name="connsiteY73" fmla="*/ 48578 h 248602"/>
                <a:gd name="connsiteX74" fmla="*/ 224790 w 383857"/>
                <a:gd name="connsiteY74" fmla="*/ 58103 h 248602"/>
                <a:gd name="connsiteX75" fmla="*/ 251460 w 383857"/>
                <a:gd name="connsiteY75" fmla="*/ 63817 h 248602"/>
                <a:gd name="connsiteX76" fmla="*/ 261938 w 383857"/>
                <a:gd name="connsiteY76" fmla="*/ 50482 h 248602"/>
                <a:gd name="connsiteX77" fmla="*/ 287655 w 383857"/>
                <a:gd name="connsiteY77" fmla="*/ 41910 h 248602"/>
                <a:gd name="connsiteX78" fmla="*/ 312420 w 383857"/>
                <a:gd name="connsiteY78" fmla="*/ 50482 h 248602"/>
                <a:gd name="connsiteX79" fmla="*/ 324803 w 383857"/>
                <a:gd name="connsiteY79" fmla="*/ 77153 h 248602"/>
                <a:gd name="connsiteX80" fmla="*/ 320040 w 383857"/>
                <a:gd name="connsiteY80" fmla="*/ 96203 h 248602"/>
                <a:gd name="connsiteX81" fmla="*/ 307658 w 383857"/>
                <a:gd name="connsiteY81" fmla="*/ 107632 h 248602"/>
                <a:gd name="connsiteX82" fmla="*/ 292417 w 383857"/>
                <a:gd name="connsiteY82" fmla="*/ 112395 h 248602"/>
                <a:gd name="connsiteX83" fmla="*/ 277178 w 383857"/>
                <a:gd name="connsiteY83" fmla="*/ 113348 h 248602"/>
                <a:gd name="connsiteX84" fmla="*/ 273367 w 383857"/>
                <a:gd name="connsiteY84" fmla="*/ 113348 h 248602"/>
                <a:gd name="connsiteX85" fmla="*/ 273367 w 383857"/>
                <a:gd name="connsiteY85" fmla="*/ 129540 h 248602"/>
                <a:gd name="connsiteX86" fmla="*/ 276225 w 383857"/>
                <a:gd name="connsiteY86" fmla="*/ 129540 h 248602"/>
                <a:gd name="connsiteX87" fmla="*/ 294323 w 383857"/>
                <a:gd name="connsiteY87" fmla="*/ 131445 h 248602"/>
                <a:gd name="connsiteX88" fmla="*/ 311467 w 383857"/>
                <a:gd name="connsiteY88" fmla="*/ 137160 h 248602"/>
                <a:gd name="connsiteX89" fmla="*/ 325755 w 383857"/>
                <a:gd name="connsiteY89" fmla="*/ 149542 h 248602"/>
                <a:gd name="connsiteX90" fmla="*/ 331470 w 383857"/>
                <a:gd name="connsiteY90" fmla="*/ 169545 h 248602"/>
                <a:gd name="connsiteX91" fmla="*/ 327660 w 383857"/>
                <a:gd name="connsiteY91" fmla="*/ 187642 h 248602"/>
                <a:gd name="connsiteX92" fmla="*/ 317183 w 383857"/>
                <a:gd name="connsiteY92" fmla="*/ 200025 h 248602"/>
                <a:gd name="connsiteX93" fmla="*/ 303848 w 383857"/>
                <a:gd name="connsiteY93" fmla="*/ 206692 h 248602"/>
                <a:gd name="connsiteX94" fmla="*/ 289560 w 383857"/>
                <a:gd name="connsiteY94" fmla="*/ 208598 h 248602"/>
                <a:gd name="connsiteX95" fmla="*/ 258128 w 383857"/>
                <a:gd name="connsiteY95" fmla="*/ 198120 h 248602"/>
                <a:gd name="connsiteX96" fmla="*/ 246698 w 383857"/>
                <a:gd name="connsiteY96" fmla="*/ 183833 h 248602"/>
                <a:gd name="connsiteX97" fmla="*/ 218123 w 383857"/>
                <a:gd name="connsiteY97" fmla="*/ 188595 h 248602"/>
                <a:gd name="connsiteX98" fmla="*/ 96203 w 383857"/>
                <a:gd name="connsiteY98" fmla="*/ 248603 h 248602"/>
                <a:gd name="connsiteX99" fmla="*/ 51435 w 383857"/>
                <a:gd name="connsiteY99" fmla="*/ 238125 h 248602"/>
                <a:gd name="connsiteX100" fmla="*/ 20955 w 383857"/>
                <a:gd name="connsiteY100" fmla="*/ 209550 h 248602"/>
                <a:gd name="connsiteX101" fmla="*/ 4763 w 383857"/>
                <a:gd name="connsiteY101" fmla="*/ 169545 h 248602"/>
                <a:gd name="connsiteX102" fmla="*/ 0 w 383857"/>
                <a:gd name="connsiteY102" fmla="*/ 123825 h 248602"/>
                <a:gd name="connsiteX103" fmla="*/ 4763 w 383857"/>
                <a:gd name="connsiteY103" fmla="*/ 78105 h 248602"/>
                <a:gd name="connsiteX104" fmla="*/ 20955 w 383857"/>
                <a:gd name="connsiteY104" fmla="*/ 38100 h 248602"/>
                <a:gd name="connsiteX105" fmla="*/ 51435 w 383857"/>
                <a:gd name="connsiteY105" fmla="*/ 10477 h 248602"/>
                <a:gd name="connsiteX106" fmla="*/ 96203 w 383857"/>
                <a:gd name="connsiteY106" fmla="*/ 0 h 248602"/>
                <a:gd name="connsiteX107" fmla="*/ 140018 w 383857"/>
                <a:gd name="connsiteY107" fmla="*/ 10477 h 248602"/>
                <a:gd name="connsiteX108" fmla="*/ 169545 w 383857"/>
                <a:gd name="connsiteY108" fmla="*/ 38100 h 248602"/>
                <a:gd name="connsiteX109" fmla="*/ 185738 w 383857"/>
                <a:gd name="connsiteY109" fmla="*/ 77153 h 248602"/>
                <a:gd name="connsiteX110" fmla="*/ 190500 w 383857"/>
                <a:gd name="connsiteY110" fmla="*/ 122873 h 248602"/>
                <a:gd name="connsiteX111" fmla="*/ 185738 w 383857"/>
                <a:gd name="connsiteY111" fmla="*/ 168592 h 248602"/>
                <a:gd name="connsiteX112" fmla="*/ 169545 w 383857"/>
                <a:gd name="connsiteY112" fmla="*/ 208598 h 248602"/>
                <a:gd name="connsiteX113" fmla="*/ 140018 w 383857"/>
                <a:gd name="connsiteY113" fmla="*/ 237173 h 248602"/>
                <a:gd name="connsiteX114" fmla="*/ 96203 w 383857"/>
                <a:gd name="connsiteY114" fmla="*/ 248603 h 248602"/>
                <a:gd name="connsiteX115" fmla="*/ 96203 w 383857"/>
                <a:gd name="connsiteY115" fmla="*/ 20955 h 248602"/>
                <a:gd name="connsiteX116" fmla="*/ 61913 w 383857"/>
                <a:gd name="connsiteY116" fmla="*/ 28575 h 248602"/>
                <a:gd name="connsiteX117" fmla="*/ 39053 w 383857"/>
                <a:gd name="connsiteY117" fmla="*/ 49530 h 248602"/>
                <a:gd name="connsiteX118" fmla="*/ 25718 w 383857"/>
                <a:gd name="connsiteY118" fmla="*/ 81915 h 248602"/>
                <a:gd name="connsiteX119" fmla="*/ 20955 w 383857"/>
                <a:gd name="connsiteY119" fmla="*/ 122873 h 248602"/>
                <a:gd name="connsiteX120" fmla="*/ 25718 w 383857"/>
                <a:gd name="connsiteY120" fmla="*/ 163830 h 248602"/>
                <a:gd name="connsiteX121" fmla="*/ 39053 w 383857"/>
                <a:gd name="connsiteY121" fmla="*/ 197167 h 248602"/>
                <a:gd name="connsiteX122" fmla="*/ 61913 w 383857"/>
                <a:gd name="connsiteY122" fmla="*/ 219075 h 248602"/>
                <a:gd name="connsiteX123" fmla="*/ 95250 w 383857"/>
                <a:gd name="connsiteY123" fmla="*/ 226695 h 248602"/>
                <a:gd name="connsiteX124" fmla="*/ 128588 w 383857"/>
                <a:gd name="connsiteY124" fmla="*/ 219075 h 248602"/>
                <a:gd name="connsiteX125" fmla="*/ 151448 w 383857"/>
                <a:gd name="connsiteY125" fmla="*/ 197167 h 248602"/>
                <a:gd name="connsiteX126" fmla="*/ 164783 w 383857"/>
                <a:gd name="connsiteY126" fmla="*/ 163830 h 248602"/>
                <a:gd name="connsiteX127" fmla="*/ 169545 w 383857"/>
                <a:gd name="connsiteY127" fmla="*/ 122873 h 248602"/>
                <a:gd name="connsiteX128" fmla="*/ 164783 w 383857"/>
                <a:gd name="connsiteY128" fmla="*/ 81915 h 248602"/>
                <a:gd name="connsiteX129" fmla="*/ 151448 w 383857"/>
                <a:gd name="connsiteY129" fmla="*/ 49530 h 248602"/>
                <a:gd name="connsiteX130" fmla="*/ 128588 w 383857"/>
                <a:gd name="connsiteY130" fmla="*/ 28575 h 248602"/>
                <a:gd name="connsiteX131" fmla="*/ 96203 w 383857"/>
                <a:gd name="connsiteY131" fmla="*/ 20955 h 248602"/>
                <a:gd name="connsiteX132" fmla="*/ 96203 w 383857"/>
                <a:gd name="connsiteY132" fmla="*/ 204787 h 248602"/>
                <a:gd name="connsiteX133" fmla="*/ 71438 w 383857"/>
                <a:gd name="connsiteY133" fmla="*/ 194310 h 248602"/>
                <a:gd name="connsiteX134" fmla="*/ 59055 w 383857"/>
                <a:gd name="connsiteY134" fmla="*/ 172403 h 248602"/>
                <a:gd name="connsiteX135" fmla="*/ 53340 w 383857"/>
                <a:gd name="connsiteY135" fmla="*/ 147638 h 248602"/>
                <a:gd name="connsiteX136" fmla="*/ 52388 w 383857"/>
                <a:gd name="connsiteY136" fmla="*/ 123825 h 248602"/>
                <a:gd name="connsiteX137" fmla="*/ 53340 w 383857"/>
                <a:gd name="connsiteY137" fmla="*/ 100013 h 248602"/>
                <a:gd name="connsiteX138" fmla="*/ 59055 w 383857"/>
                <a:gd name="connsiteY138" fmla="*/ 75248 h 248602"/>
                <a:gd name="connsiteX139" fmla="*/ 71438 w 383857"/>
                <a:gd name="connsiteY139" fmla="*/ 54292 h 248602"/>
                <a:gd name="connsiteX140" fmla="*/ 96203 w 383857"/>
                <a:gd name="connsiteY140" fmla="*/ 43815 h 248602"/>
                <a:gd name="connsiteX141" fmla="*/ 120968 w 383857"/>
                <a:gd name="connsiteY141" fmla="*/ 54292 h 248602"/>
                <a:gd name="connsiteX142" fmla="*/ 132398 w 383857"/>
                <a:gd name="connsiteY142" fmla="*/ 76200 h 248602"/>
                <a:gd name="connsiteX143" fmla="*/ 137160 w 383857"/>
                <a:gd name="connsiteY143" fmla="*/ 100965 h 248602"/>
                <a:gd name="connsiteX144" fmla="*/ 138113 w 383857"/>
                <a:gd name="connsiteY144" fmla="*/ 124778 h 248602"/>
                <a:gd name="connsiteX145" fmla="*/ 137160 w 383857"/>
                <a:gd name="connsiteY145" fmla="*/ 148590 h 248602"/>
                <a:gd name="connsiteX146" fmla="*/ 132398 w 383857"/>
                <a:gd name="connsiteY146" fmla="*/ 173355 h 248602"/>
                <a:gd name="connsiteX147" fmla="*/ 120968 w 383857"/>
                <a:gd name="connsiteY147" fmla="*/ 195262 h 248602"/>
                <a:gd name="connsiteX148" fmla="*/ 96203 w 383857"/>
                <a:gd name="connsiteY148" fmla="*/ 204787 h 248602"/>
                <a:gd name="connsiteX149" fmla="*/ 96203 w 383857"/>
                <a:gd name="connsiteY149" fmla="*/ 64770 h 248602"/>
                <a:gd name="connsiteX150" fmla="*/ 87630 w 383857"/>
                <a:gd name="connsiteY150" fmla="*/ 68580 h 248602"/>
                <a:gd name="connsiteX151" fmla="*/ 80010 w 383857"/>
                <a:gd name="connsiteY151" fmla="*/ 82867 h 248602"/>
                <a:gd name="connsiteX152" fmla="*/ 76200 w 383857"/>
                <a:gd name="connsiteY152" fmla="*/ 102870 h 248602"/>
                <a:gd name="connsiteX153" fmla="*/ 75248 w 383857"/>
                <a:gd name="connsiteY153" fmla="*/ 123825 h 248602"/>
                <a:gd name="connsiteX154" fmla="*/ 76200 w 383857"/>
                <a:gd name="connsiteY154" fmla="*/ 145733 h 248602"/>
                <a:gd name="connsiteX155" fmla="*/ 80963 w 383857"/>
                <a:gd name="connsiteY155" fmla="*/ 166687 h 248602"/>
                <a:gd name="connsiteX156" fmla="*/ 88583 w 383857"/>
                <a:gd name="connsiteY156" fmla="*/ 180975 h 248602"/>
                <a:gd name="connsiteX157" fmla="*/ 97155 w 383857"/>
                <a:gd name="connsiteY157" fmla="*/ 184785 h 248602"/>
                <a:gd name="connsiteX158" fmla="*/ 105728 w 383857"/>
                <a:gd name="connsiteY158" fmla="*/ 180975 h 248602"/>
                <a:gd name="connsiteX159" fmla="*/ 113348 w 383857"/>
                <a:gd name="connsiteY159" fmla="*/ 166687 h 248602"/>
                <a:gd name="connsiteX160" fmla="*/ 117158 w 383857"/>
                <a:gd name="connsiteY160" fmla="*/ 145733 h 248602"/>
                <a:gd name="connsiteX161" fmla="*/ 118110 w 383857"/>
                <a:gd name="connsiteY161" fmla="*/ 123825 h 248602"/>
                <a:gd name="connsiteX162" fmla="*/ 117158 w 383857"/>
                <a:gd name="connsiteY162" fmla="*/ 102870 h 248602"/>
                <a:gd name="connsiteX163" fmla="*/ 113348 w 383857"/>
                <a:gd name="connsiteY163" fmla="*/ 81915 h 248602"/>
                <a:gd name="connsiteX164" fmla="*/ 105728 w 383857"/>
                <a:gd name="connsiteY164" fmla="*/ 67628 h 248602"/>
                <a:gd name="connsiteX165" fmla="*/ 96203 w 383857"/>
                <a:gd name="connsiteY165" fmla="*/ 64770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383857" h="248602">
                  <a:moveTo>
                    <a:pt x="290513" y="248603"/>
                  </a:moveTo>
                  <a:cubicBezTo>
                    <a:pt x="280035" y="248603"/>
                    <a:pt x="269558" y="247650"/>
                    <a:pt x="259080" y="244792"/>
                  </a:cubicBezTo>
                  <a:cubicBezTo>
                    <a:pt x="248603" y="241935"/>
                    <a:pt x="239078" y="238125"/>
                    <a:pt x="230505" y="233362"/>
                  </a:cubicBezTo>
                  <a:cubicBezTo>
                    <a:pt x="221933" y="228600"/>
                    <a:pt x="214313" y="220980"/>
                    <a:pt x="207645" y="213360"/>
                  </a:cubicBezTo>
                  <a:cubicBezTo>
                    <a:pt x="200978" y="204787"/>
                    <a:pt x="196215" y="195262"/>
                    <a:pt x="193358" y="183833"/>
                  </a:cubicBezTo>
                  <a:cubicBezTo>
                    <a:pt x="192405" y="180975"/>
                    <a:pt x="193358" y="178117"/>
                    <a:pt x="194310" y="175260"/>
                  </a:cubicBezTo>
                  <a:cubicBezTo>
                    <a:pt x="196215" y="172403"/>
                    <a:pt x="198120" y="170498"/>
                    <a:pt x="200978" y="170498"/>
                  </a:cubicBezTo>
                  <a:lnTo>
                    <a:pt x="248603" y="158115"/>
                  </a:lnTo>
                  <a:cubicBezTo>
                    <a:pt x="254317" y="156210"/>
                    <a:pt x="260033" y="160020"/>
                    <a:pt x="261938" y="165735"/>
                  </a:cubicBezTo>
                  <a:cubicBezTo>
                    <a:pt x="263842" y="170498"/>
                    <a:pt x="266700" y="175260"/>
                    <a:pt x="271463" y="179070"/>
                  </a:cubicBezTo>
                  <a:cubicBezTo>
                    <a:pt x="276225" y="182880"/>
                    <a:pt x="280988" y="184785"/>
                    <a:pt x="288608" y="184785"/>
                  </a:cubicBezTo>
                  <a:cubicBezTo>
                    <a:pt x="291465" y="184785"/>
                    <a:pt x="294323" y="184785"/>
                    <a:pt x="297180" y="183833"/>
                  </a:cubicBezTo>
                  <a:cubicBezTo>
                    <a:pt x="300038" y="182880"/>
                    <a:pt x="301942" y="181928"/>
                    <a:pt x="303848" y="180975"/>
                  </a:cubicBezTo>
                  <a:cubicBezTo>
                    <a:pt x="305753" y="180023"/>
                    <a:pt x="306705" y="178117"/>
                    <a:pt x="307658" y="176212"/>
                  </a:cubicBezTo>
                  <a:cubicBezTo>
                    <a:pt x="308610" y="174308"/>
                    <a:pt x="309563" y="171450"/>
                    <a:pt x="309563" y="168592"/>
                  </a:cubicBezTo>
                  <a:cubicBezTo>
                    <a:pt x="309563" y="165735"/>
                    <a:pt x="308610" y="162878"/>
                    <a:pt x="307658" y="160973"/>
                  </a:cubicBezTo>
                  <a:cubicBezTo>
                    <a:pt x="305753" y="159067"/>
                    <a:pt x="303848" y="157163"/>
                    <a:pt x="301942" y="155258"/>
                  </a:cubicBezTo>
                  <a:cubicBezTo>
                    <a:pt x="299085" y="153353"/>
                    <a:pt x="295275" y="152400"/>
                    <a:pt x="290513" y="151448"/>
                  </a:cubicBezTo>
                  <a:cubicBezTo>
                    <a:pt x="285750" y="150495"/>
                    <a:pt x="280988" y="150495"/>
                    <a:pt x="276225" y="150495"/>
                  </a:cubicBezTo>
                  <a:lnTo>
                    <a:pt x="262890" y="150495"/>
                  </a:lnTo>
                  <a:cubicBezTo>
                    <a:pt x="257175" y="150495"/>
                    <a:pt x="252413" y="145733"/>
                    <a:pt x="252413" y="140017"/>
                  </a:cubicBezTo>
                  <a:lnTo>
                    <a:pt x="252413" y="102870"/>
                  </a:lnTo>
                  <a:cubicBezTo>
                    <a:pt x="252413" y="97155"/>
                    <a:pt x="257175" y="92392"/>
                    <a:pt x="262890" y="92392"/>
                  </a:cubicBezTo>
                  <a:lnTo>
                    <a:pt x="278130" y="92392"/>
                  </a:lnTo>
                  <a:cubicBezTo>
                    <a:pt x="281940" y="92392"/>
                    <a:pt x="286703" y="92392"/>
                    <a:pt x="290513" y="91440"/>
                  </a:cubicBezTo>
                  <a:cubicBezTo>
                    <a:pt x="293370" y="90488"/>
                    <a:pt x="296228" y="89535"/>
                    <a:pt x="299085" y="88582"/>
                  </a:cubicBezTo>
                  <a:cubicBezTo>
                    <a:pt x="300990" y="87630"/>
                    <a:pt x="302895" y="85725"/>
                    <a:pt x="303848" y="84773"/>
                  </a:cubicBezTo>
                  <a:cubicBezTo>
                    <a:pt x="304800" y="83820"/>
                    <a:pt x="304800" y="80963"/>
                    <a:pt x="304800" y="78105"/>
                  </a:cubicBezTo>
                  <a:cubicBezTo>
                    <a:pt x="304800" y="72390"/>
                    <a:pt x="302895" y="70485"/>
                    <a:pt x="300990" y="69532"/>
                  </a:cubicBezTo>
                  <a:cubicBezTo>
                    <a:pt x="293370" y="63817"/>
                    <a:pt x="282892" y="63817"/>
                    <a:pt x="276225" y="69532"/>
                  </a:cubicBezTo>
                  <a:cubicBezTo>
                    <a:pt x="272415" y="72390"/>
                    <a:pt x="270510" y="76200"/>
                    <a:pt x="269558" y="80963"/>
                  </a:cubicBezTo>
                  <a:cubicBezTo>
                    <a:pt x="268605" y="83820"/>
                    <a:pt x="267653" y="85725"/>
                    <a:pt x="264795" y="87630"/>
                  </a:cubicBezTo>
                  <a:cubicBezTo>
                    <a:pt x="261938" y="89535"/>
                    <a:pt x="259080" y="89535"/>
                    <a:pt x="256223" y="88582"/>
                  </a:cubicBezTo>
                  <a:lnTo>
                    <a:pt x="208598" y="78105"/>
                  </a:lnTo>
                  <a:cubicBezTo>
                    <a:pt x="205740" y="77153"/>
                    <a:pt x="202883" y="75248"/>
                    <a:pt x="201930" y="73342"/>
                  </a:cubicBezTo>
                  <a:cubicBezTo>
                    <a:pt x="200025" y="70485"/>
                    <a:pt x="200025" y="67628"/>
                    <a:pt x="200978" y="64770"/>
                  </a:cubicBezTo>
                  <a:cubicBezTo>
                    <a:pt x="203835" y="54292"/>
                    <a:pt x="208598" y="44767"/>
                    <a:pt x="214313" y="37147"/>
                  </a:cubicBezTo>
                  <a:cubicBezTo>
                    <a:pt x="220028" y="29528"/>
                    <a:pt x="227648" y="22860"/>
                    <a:pt x="236220" y="17145"/>
                  </a:cubicBezTo>
                  <a:cubicBezTo>
                    <a:pt x="243840" y="12382"/>
                    <a:pt x="253365" y="8572"/>
                    <a:pt x="262890" y="5715"/>
                  </a:cubicBezTo>
                  <a:cubicBezTo>
                    <a:pt x="281940" y="0"/>
                    <a:pt x="302895" y="952"/>
                    <a:pt x="322898" y="5715"/>
                  </a:cubicBezTo>
                  <a:cubicBezTo>
                    <a:pt x="333375" y="8572"/>
                    <a:pt x="342900" y="12382"/>
                    <a:pt x="350520" y="19050"/>
                  </a:cubicBezTo>
                  <a:cubicBezTo>
                    <a:pt x="359092" y="24765"/>
                    <a:pt x="365760" y="32385"/>
                    <a:pt x="370523" y="41910"/>
                  </a:cubicBezTo>
                  <a:cubicBezTo>
                    <a:pt x="376238" y="51435"/>
                    <a:pt x="378142" y="61913"/>
                    <a:pt x="378142" y="74295"/>
                  </a:cubicBezTo>
                  <a:cubicBezTo>
                    <a:pt x="378142" y="88582"/>
                    <a:pt x="374333" y="100965"/>
                    <a:pt x="365760" y="111442"/>
                  </a:cubicBezTo>
                  <a:cubicBezTo>
                    <a:pt x="362903" y="115253"/>
                    <a:pt x="359092" y="118110"/>
                    <a:pt x="355283" y="120967"/>
                  </a:cubicBezTo>
                  <a:cubicBezTo>
                    <a:pt x="360998" y="124778"/>
                    <a:pt x="364808" y="128588"/>
                    <a:pt x="369570" y="133350"/>
                  </a:cubicBezTo>
                  <a:cubicBezTo>
                    <a:pt x="374333" y="139065"/>
                    <a:pt x="377190" y="144780"/>
                    <a:pt x="380048" y="151448"/>
                  </a:cubicBezTo>
                  <a:cubicBezTo>
                    <a:pt x="382905" y="158115"/>
                    <a:pt x="383858" y="164783"/>
                    <a:pt x="383858" y="172403"/>
                  </a:cubicBezTo>
                  <a:cubicBezTo>
                    <a:pt x="383858" y="185737"/>
                    <a:pt x="381000" y="198120"/>
                    <a:pt x="375285" y="208598"/>
                  </a:cubicBezTo>
                  <a:cubicBezTo>
                    <a:pt x="369570" y="218123"/>
                    <a:pt x="362903" y="226695"/>
                    <a:pt x="353378" y="233362"/>
                  </a:cubicBezTo>
                  <a:cubicBezTo>
                    <a:pt x="344805" y="240030"/>
                    <a:pt x="334328" y="244792"/>
                    <a:pt x="323850" y="247650"/>
                  </a:cubicBezTo>
                  <a:cubicBezTo>
                    <a:pt x="312420" y="247650"/>
                    <a:pt x="301942" y="248603"/>
                    <a:pt x="290513" y="248603"/>
                  </a:cubicBezTo>
                  <a:close/>
                  <a:moveTo>
                    <a:pt x="218123" y="188595"/>
                  </a:moveTo>
                  <a:cubicBezTo>
                    <a:pt x="220028" y="193358"/>
                    <a:pt x="222885" y="197167"/>
                    <a:pt x="225742" y="200978"/>
                  </a:cubicBezTo>
                  <a:cubicBezTo>
                    <a:pt x="230505" y="207645"/>
                    <a:pt x="236220" y="212408"/>
                    <a:pt x="242888" y="216217"/>
                  </a:cubicBezTo>
                  <a:cubicBezTo>
                    <a:pt x="249555" y="220028"/>
                    <a:pt x="257175" y="222885"/>
                    <a:pt x="264795" y="224790"/>
                  </a:cubicBezTo>
                  <a:cubicBezTo>
                    <a:pt x="281940" y="228600"/>
                    <a:pt x="300038" y="228600"/>
                    <a:pt x="317183" y="223837"/>
                  </a:cubicBezTo>
                  <a:cubicBezTo>
                    <a:pt x="325755" y="221933"/>
                    <a:pt x="333375" y="218123"/>
                    <a:pt x="340042" y="213360"/>
                  </a:cubicBezTo>
                  <a:cubicBezTo>
                    <a:pt x="346710" y="208598"/>
                    <a:pt x="351473" y="202883"/>
                    <a:pt x="355283" y="195262"/>
                  </a:cubicBezTo>
                  <a:cubicBezTo>
                    <a:pt x="359092" y="188595"/>
                    <a:pt x="360998" y="180023"/>
                    <a:pt x="360998" y="169545"/>
                  </a:cubicBezTo>
                  <a:cubicBezTo>
                    <a:pt x="360998" y="164783"/>
                    <a:pt x="360045" y="160020"/>
                    <a:pt x="359092" y="156210"/>
                  </a:cubicBezTo>
                  <a:cubicBezTo>
                    <a:pt x="357188" y="152400"/>
                    <a:pt x="355283" y="147638"/>
                    <a:pt x="352425" y="144780"/>
                  </a:cubicBezTo>
                  <a:cubicBezTo>
                    <a:pt x="349567" y="140970"/>
                    <a:pt x="345758" y="138113"/>
                    <a:pt x="341948" y="136208"/>
                  </a:cubicBezTo>
                  <a:cubicBezTo>
                    <a:pt x="338138" y="133350"/>
                    <a:pt x="333375" y="131445"/>
                    <a:pt x="328613" y="130492"/>
                  </a:cubicBezTo>
                  <a:cubicBezTo>
                    <a:pt x="323850" y="129540"/>
                    <a:pt x="320040" y="124778"/>
                    <a:pt x="320040" y="120015"/>
                  </a:cubicBezTo>
                  <a:cubicBezTo>
                    <a:pt x="320040" y="115253"/>
                    <a:pt x="322898" y="110490"/>
                    <a:pt x="327660" y="108585"/>
                  </a:cubicBezTo>
                  <a:cubicBezTo>
                    <a:pt x="336233" y="106680"/>
                    <a:pt x="342900" y="101917"/>
                    <a:pt x="348615" y="95250"/>
                  </a:cubicBezTo>
                  <a:cubicBezTo>
                    <a:pt x="353378" y="88582"/>
                    <a:pt x="356235" y="80963"/>
                    <a:pt x="356235" y="71438"/>
                  </a:cubicBezTo>
                  <a:cubicBezTo>
                    <a:pt x="356235" y="62865"/>
                    <a:pt x="354330" y="55245"/>
                    <a:pt x="351473" y="49530"/>
                  </a:cubicBezTo>
                  <a:cubicBezTo>
                    <a:pt x="347663" y="42863"/>
                    <a:pt x="342900" y="38100"/>
                    <a:pt x="337185" y="34290"/>
                  </a:cubicBezTo>
                  <a:cubicBezTo>
                    <a:pt x="331470" y="29528"/>
                    <a:pt x="323850" y="26670"/>
                    <a:pt x="316230" y="24765"/>
                  </a:cubicBezTo>
                  <a:cubicBezTo>
                    <a:pt x="300990" y="20955"/>
                    <a:pt x="283845" y="20003"/>
                    <a:pt x="267653" y="24765"/>
                  </a:cubicBezTo>
                  <a:cubicBezTo>
                    <a:pt x="260033" y="26670"/>
                    <a:pt x="253365" y="29528"/>
                    <a:pt x="246698" y="34290"/>
                  </a:cubicBezTo>
                  <a:cubicBezTo>
                    <a:pt x="240983" y="38100"/>
                    <a:pt x="235267" y="42863"/>
                    <a:pt x="230505" y="48578"/>
                  </a:cubicBezTo>
                  <a:cubicBezTo>
                    <a:pt x="228600" y="51435"/>
                    <a:pt x="225742" y="55245"/>
                    <a:pt x="224790" y="58103"/>
                  </a:cubicBezTo>
                  <a:lnTo>
                    <a:pt x="251460" y="63817"/>
                  </a:lnTo>
                  <a:cubicBezTo>
                    <a:pt x="254317" y="59055"/>
                    <a:pt x="257175" y="54292"/>
                    <a:pt x="261938" y="50482"/>
                  </a:cubicBezTo>
                  <a:cubicBezTo>
                    <a:pt x="269558" y="44767"/>
                    <a:pt x="278130" y="41910"/>
                    <a:pt x="287655" y="41910"/>
                  </a:cubicBezTo>
                  <a:cubicBezTo>
                    <a:pt x="297180" y="41910"/>
                    <a:pt x="305753" y="44767"/>
                    <a:pt x="312420" y="50482"/>
                  </a:cubicBezTo>
                  <a:cubicBezTo>
                    <a:pt x="320992" y="56197"/>
                    <a:pt x="324803" y="65723"/>
                    <a:pt x="324803" y="77153"/>
                  </a:cubicBezTo>
                  <a:cubicBezTo>
                    <a:pt x="324803" y="84773"/>
                    <a:pt x="322898" y="91440"/>
                    <a:pt x="320040" y="96203"/>
                  </a:cubicBezTo>
                  <a:cubicBezTo>
                    <a:pt x="317183" y="100965"/>
                    <a:pt x="312420" y="104775"/>
                    <a:pt x="307658" y="107632"/>
                  </a:cubicBezTo>
                  <a:cubicBezTo>
                    <a:pt x="302895" y="110490"/>
                    <a:pt x="298133" y="111442"/>
                    <a:pt x="292417" y="112395"/>
                  </a:cubicBezTo>
                  <a:cubicBezTo>
                    <a:pt x="287655" y="113348"/>
                    <a:pt x="281940" y="113348"/>
                    <a:pt x="277178" y="113348"/>
                  </a:cubicBezTo>
                  <a:lnTo>
                    <a:pt x="273367" y="113348"/>
                  </a:lnTo>
                  <a:lnTo>
                    <a:pt x="273367" y="129540"/>
                  </a:lnTo>
                  <a:lnTo>
                    <a:pt x="276225" y="129540"/>
                  </a:lnTo>
                  <a:cubicBezTo>
                    <a:pt x="281940" y="129540"/>
                    <a:pt x="287655" y="130492"/>
                    <a:pt x="294323" y="131445"/>
                  </a:cubicBezTo>
                  <a:cubicBezTo>
                    <a:pt x="300990" y="132398"/>
                    <a:pt x="306705" y="134303"/>
                    <a:pt x="311467" y="137160"/>
                  </a:cubicBezTo>
                  <a:cubicBezTo>
                    <a:pt x="317183" y="140017"/>
                    <a:pt x="321945" y="143828"/>
                    <a:pt x="325755" y="149542"/>
                  </a:cubicBezTo>
                  <a:cubicBezTo>
                    <a:pt x="329565" y="155258"/>
                    <a:pt x="331470" y="161925"/>
                    <a:pt x="331470" y="169545"/>
                  </a:cubicBezTo>
                  <a:cubicBezTo>
                    <a:pt x="331470" y="176212"/>
                    <a:pt x="329565" y="182880"/>
                    <a:pt x="327660" y="187642"/>
                  </a:cubicBezTo>
                  <a:cubicBezTo>
                    <a:pt x="324803" y="192405"/>
                    <a:pt x="320992" y="196215"/>
                    <a:pt x="317183" y="200025"/>
                  </a:cubicBezTo>
                  <a:cubicBezTo>
                    <a:pt x="313373" y="202883"/>
                    <a:pt x="308610" y="204787"/>
                    <a:pt x="303848" y="206692"/>
                  </a:cubicBezTo>
                  <a:cubicBezTo>
                    <a:pt x="299085" y="207645"/>
                    <a:pt x="294323" y="208598"/>
                    <a:pt x="289560" y="208598"/>
                  </a:cubicBezTo>
                  <a:cubicBezTo>
                    <a:pt x="277178" y="208598"/>
                    <a:pt x="266700" y="204787"/>
                    <a:pt x="258128" y="198120"/>
                  </a:cubicBezTo>
                  <a:cubicBezTo>
                    <a:pt x="253365" y="194310"/>
                    <a:pt x="249555" y="189548"/>
                    <a:pt x="246698" y="183833"/>
                  </a:cubicBezTo>
                  <a:lnTo>
                    <a:pt x="218123" y="188595"/>
                  </a:lnTo>
                  <a:close/>
                  <a:moveTo>
                    <a:pt x="96203" y="248603"/>
                  </a:moveTo>
                  <a:cubicBezTo>
                    <a:pt x="79058" y="248603"/>
                    <a:pt x="63818" y="244792"/>
                    <a:pt x="51435" y="238125"/>
                  </a:cubicBezTo>
                  <a:cubicBezTo>
                    <a:pt x="39053" y="231458"/>
                    <a:pt x="29528" y="221933"/>
                    <a:pt x="20955" y="209550"/>
                  </a:cubicBezTo>
                  <a:cubicBezTo>
                    <a:pt x="13335" y="198120"/>
                    <a:pt x="7620" y="184785"/>
                    <a:pt x="4763" y="169545"/>
                  </a:cubicBezTo>
                  <a:cubicBezTo>
                    <a:pt x="1905" y="155258"/>
                    <a:pt x="0" y="140017"/>
                    <a:pt x="0" y="123825"/>
                  </a:cubicBezTo>
                  <a:cubicBezTo>
                    <a:pt x="0" y="107632"/>
                    <a:pt x="1905" y="92392"/>
                    <a:pt x="4763" y="78105"/>
                  </a:cubicBezTo>
                  <a:cubicBezTo>
                    <a:pt x="8573" y="62865"/>
                    <a:pt x="13335" y="49530"/>
                    <a:pt x="20955" y="38100"/>
                  </a:cubicBezTo>
                  <a:cubicBezTo>
                    <a:pt x="28575" y="26670"/>
                    <a:pt x="39053" y="17145"/>
                    <a:pt x="51435" y="10477"/>
                  </a:cubicBezTo>
                  <a:cubicBezTo>
                    <a:pt x="63818" y="3810"/>
                    <a:pt x="79058" y="0"/>
                    <a:pt x="96203" y="0"/>
                  </a:cubicBezTo>
                  <a:cubicBezTo>
                    <a:pt x="113348" y="0"/>
                    <a:pt x="127635" y="3810"/>
                    <a:pt x="140018" y="10477"/>
                  </a:cubicBezTo>
                  <a:cubicBezTo>
                    <a:pt x="152400" y="17145"/>
                    <a:pt x="161925" y="26670"/>
                    <a:pt x="169545" y="38100"/>
                  </a:cubicBezTo>
                  <a:cubicBezTo>
                    <a:pt x="177165" y="49530"/>
                    <a:pt x="181928" y="62865"/>
                    <a:pt x="185738" y="77153"/>
                  </a:cubicBezTo>
                  <a:cubicBezTo>
                    <a:pt x="188595" y="91440"/>
                    <a:pt x="190500" y="106680"/>
                    <a:pt x="190500" y="122873"/>
                  </a:cubicBezTo>
                  <a:cubicBezTo>
                    <a:pt x="190500" y="139065"/>
                    <a:pt x="188595" y="154305"/>
                    <a:pt x="185738" y="168592"/>
                  </a:cubicBezTo>
                  <a:cubicBezTo>
                    <a:pt x="181928" y="183833"/>
                    <a:pt x="177165" y="197167"/>
                    <a:pt x="169545" y="208598"/>
                  </a:cubicBezTo>
                  <a:cubicBezTo>
                    <a:pt x="161925" y="220028"/>
                    <a:pt x="152400" y="230505"/>
                    <a:pt x="140018" y="237173"/>
                  </a:cubicBezTo>
                  <a:cubicBezTo>
                    <a:pt x="128588" y="244792"/>
                    <a:pt x="113348" y="248603"/>
                    <a:pt x="96203" y="248603"/>
                  </a:cubicBezTo>
                  <a:close/>
                  <a:moveTo>
                    <a:pt x="96203" y="20955"/>
                  </a:moveTo>
                  <a:cubicBezTo>
                    <a:pt x="82868" y="20955"/>
                    <a:pt x="71438" y="23813"/>
                    <a:pt x="61913" y="28575"/>
                  </a:cubicBezTo>
                  <a:cubicBezTo>
                    <a:pt x="52388" y="34290"/>
                    <a:pt x="44768" y="40957"/>
                    <a:pt x="39053" y="49530"/>
                  </a:cubicBezTo>
                  <a:cubicBezTo>
                    <a:pt x="33338" y="59055"/>
                    <a:pt x="28575" y="69532"/>
                    <a:pt x="25718" y="81915"/>
                  </a:cubicBezTo>
                  <a:cubicBezTo>
                    <a:pt x="22860" y="95250"/>
                    <a:pt x="20955" y="108585"/>
                    <a:pt x="20955" y="122873"/>
                  </a:cubicBezTo>
                  <a:cubicBezTo>
                    <a:pt x="20955" y="137160"/>
                    <a:pt x="22860" y="151448"/>
                    <a:pt x="25718" y="163830"/>
                  </a:cubicBezTo>
                  <a:cubicBezTo>
                    <a:pt x="28575" y="176212"/>
                    <a:pt x="33338" y="187642"/>
                    <a:pt x="39053" y="197167"/>
                  </a:cubicBezTo>
                  <a:cubicBezTo>
                    <a:pt x="44768" y="206692"/>
                    <a:pt x="52388" y="213360"/>
                    <a:pt x="61913" y="219075"/>
                  </a:cubicBezTo>
                  <a:cubicBezTo>
                    <a:pt x="71438" y="223837"/>
                    <a:pt x="81915" y="226695"/>
                    <a:pt x="95250" y="226695"/>
                  </a:cubicBezTo>
                  <a:cubicBezTo>
                    <a:pt x="108585" y="226695"/>
                    <a:pt x="120015" y="223837"/>
                    <a:pt x="128588" y="219075"/>
                  </a:cubicBezTo>
                  <a:cubicBezTo>
                    <a:pt x="138113" y="213360"/>
                    <a:pt x="145733" y="206692"/>
                    <a:pt x="151448" y="197167"/>
                  </a:cubicBezTo>
                  <a:cubicBezTo>
                    <a:pt x="157163" y="187642"/>
                    <a:pt x="161925" y="177165"/>
                    <a:pt x="164783" y="163830"/>
                  </a:cubicBezTo>
                  <a:cubicBezTo>
                    <a:pt x="167640" y="150495"/>
                    <a:pt x="169545" y="137160"/>
                    <a:pt x="169545" y="122873"/>
                  </a:cubicBezTo>
                  <a:cubicBezTo>
                    <a:pt x="169545" y="108585"/>
                    <a:pt x="167640" y="94298"/>
                    <a:pt x="164783" y="81915"/>
                  </a:cubicBezTo>
                  <a:cubicBezTo>
                    <a:pt x="161925" y="69532"/>
                    <a:pt x="157163" y="59055"/>
                    <a:pt x="151448" y="49530"/>
                  </a:cubicBezTo>
                  <a:cubicBezTo>
                    <a:pt x="145733" y="40957"/>
                    <a:pt x="138113" y="33338"/>
                    <a:pt x="128588" y="28575"/>
                  </a:cubicBezTo>
                  <a:cubicBezTo>
                    <a:pt x="120968" y="23813"/>
                    <a:pt x="109538" y="20955"/>
                    <a:pt x="96203" y="20955"/>
                  </a:cubicBezTo>
                  <a:close/>
                  <a:moveTo>
                    <a:pt x="96203" y="204787"/>
                  </a:moveTo>
                  <a:cubicBezTo>
                    <a:pt x="86678" y="204787"/>
                    <a:pt x="78105" y="200978"/>
                    <a:pt x="71438" y="194310"/>
                  </a:cubicBezTo>
                  <a:cubicBezTo>
                    <a:pt x="66675" y="188595"/>
                    <a:pt x="61913" y="180975"/>
                    <a:pt x="59055" y="172403"/>
                  </a:cubicBezTo>
                  <a:cubicBezTo>
                    <a:pt x="56198" y="164783"/>
                    <a:pt x="54293" y="156210"/>
                    <a:pt x="53340" y="147638"/>
                  </a:cubicBezTo>
                  <a:cubicBezTo>
                    <a:pt x="52388" y="139065"/>
                    <a:pt x="52388" y="131445"/>
                    <a:pt x="52388" y="123825"/>
                  </a:cubicBezTo>
                  <a:cubicBezTo>
                    <a:pt x="52388" y="117157"/>
                    <a:pt x="52388" y="108585"/>
                    <a:pt x="53340" y="100013"/>
                  </a:cubicBezTo>
                  <a:cubicBezTo>
                    <a:pt x="54293" y="91440"/>
                    <a:pt x="56198" y="82867"/>
                    <a:pt x="59055" y="75248"/>
                  </a:cubicBezTo>
                  <a:cubicBezTo>
                    <a:pt x="61913" y="66675"/>
                    <a:pt x="65723" y="60007"/>
                    <a:pt x="71438" y="54292"/>
                  </a:cubicBezTo>
                  <a:cubicBezTo>
                    <a:pt x="78105" y="47625"/>
                    <a:pt x="86678" y="43815"/>
                    <a:pt x="96203" y="43815"/>
                  </a:cubicBezTo>
                  <a:cubicBezTo>
                    <a:pt x="105728" y="43815"/>
                    <a:pt x="114300" y="47625"/>
                    <a:pt x="120968" y="54292"/>
                  </a:cubicBezTo>
                  <a:cubicBezTo>
                    <a:pt x="125730" y="60007"/>
                    <a:pt x="130493" y="67628"/>
                    <a:pt x="132398" y="76200"/>
                  </a:cubicBezTo>
                  <a:cubicBezTo>
                    <a:pt x="135255" y="83820"/>
                    <a:pt x="136208" y="92392"/>
                    <a:pt x="137160" y="100965"/>
                  </a:cubicBezTo>
                  <a:cubicBezTo>
                    <a:pt x="138113" y="109538"/>
                    <a:pt x="138113" y="117157"/>
                    <a:pt x="138113" y="124778"/>
                  </a:cubicBezTo>
                  <a:cubicBezTo>
                    <a:pt x="138113" y="132398"/>
                    <a:pt x="138113" y="140017"/>
                    <a:pt x="137160" y="148590"/>
                  </a:cubicBezTo>
                  <a:cubicBezTo>
                    <a:pt x="136208" y="157163"/>
                    <a:pt x="134303" y="165735"/>
                    <a:pt x="132398" y="173355"/>
                  </a:cubicBezTo>
                  <a:cubicBezTo>
                    <a:pt x="129540" y="181928"/>
                    <a:pt x="125730" y="188595"/>
                    <a:pt x="120968" y="195262"/>
                  </a:cubicBezTo>
                  <a:cubicBezTo>
                    <a:pt x="114300" y="200978"/>
                    <a:pt x="106680" y="204787"/>
                    <a:pt x="96203" y="204787"/>
                  </a:cubicBezTo>
                  <a:close/>
                  <a:moveTo>
                    <a:pt x="96203" y="64770"/>
                  </a:moveTo>
                  <a:cubicBezTo>
                    <a:pt x="92393" y="64770"/>
                    <a:pt x="89535" y="65723"/>
                    <a:pt x="87630" y="68580"/>
                  </a:cubicBezTo>
                  <a:cubicBezTo>
                    <a:pt x="84773" y="72390"/>
                    <a:pt x="81915" y="77153"/>
                    <a:pt x="80010" y="82867"/>
                  </a:cubicBezTo>
                  <a:cubicBezTo>
                    <a:pt x="78105" y="89535"/>
                    <a:pt x="76200" y="96203"/>
                    <a:pt x="76200" y="102870"/>
                  </a:cubicBezTo>
                  <a:cubicBezTo>
                    <a:pt x="75248" y="110490"/>
                    <a:pt x="75248" y="118110"/>
                    <a:pt x="75248" y="123825"/>
                  </a:cubicBezTo>
                  <a:cubicBezTo>
                    <a:pt x="75248" y="130492"/>
                    <a:pt x="75248" y="138113"/>
                    <a:pt x="76200" y="145733"/>
                  </a:cubicBezTo>
                  <a:cubicBezTo>
                    <a:pt x="77153" y="153353"/>
                    <a:pt x="78105" y="160020"/>
                    <a:pt x="80963" y="166687"/>
                  </a:cubicBezTo>
                  <a:cubicBezTo>
                    <a:pt x="82868" y="172403"/>
                    <a:pt x="85725" y="177165"/>
                    <a:pt x="88583" y="180975"/>
                  </a:cubicBezTo>
                  <a:cubicBezTo>
                    <a:pt x="90488" y="183833"/>
                    <a:pt x="93345" y="184785"/>
                    <a:pt x="97155" y="184785"/>
                  </a:cubicBezTo>
                  <a:cubicBezTo>
                    <a:pt x="100965" y="184785"/>
                    <a:pt x="102870" y="183833"/>
                    <a:pt x="105728" y="180975"/>
                  </a:cubicBezTo>
                  <a:cubicBezTo>
                    <a:pt x="108585" y="177165"/>
                    <a:pt x="111443" y="172403"/>
                    <a:pt x="113348" y="166687"/>
                  </a:cubicBezTo>
                  <a:cubicBezTo>
                    <a:pt x="115253" y="160020"/>
                    <a:pt x="117158" y="153353"/>
                    <a:pt x="117158" y="145733"/>
                  </a:cubicBezTo>
                  <a:cubicBezTo>
                    <a:pt x="118110" y="138113"/>
                    <a:pt x="118110" y="130492"/>
                    <a:pt x="118110" y="123825"/>
                  </a:cubicBezTo>
                  <a:cubicBezTo>
                    <a:pt x="118110" y="117157"/>
                    <a:pt x="118110" y="110490"/>
                    <a:pt x="117158" y="102870"/>
                  </a:cubicBezTo>
                  <a:cubicBezTo>
                    <a:pt x="116205" y="95250"/>
                    <a:pt x="115253" y="88582"/>
                    <a:pt x="113348" y="81915"/>
                  </a:cubicBezTo>
                  <a:cubicBezTo>
                    <a:pt x="111443" y="76200"/>
                    <a:pt x="108585" y="71438"/>
                    <a:pt x="105728" y="67628"/>
                  </a:cubicBezTo>
                  <a:cubicBezTo>
                    <a:pt x="102870" y="65723"/>
                    <a:pt x="100013" y="64770"/>
                    <a:pt x="96203" y="64770"/>
                  </a:cubicBezTo>
                  <a:close/>
                </a:path>
              </a:pathLst>
            </a:custGeom>
            <a:solidFill>
              <a:srgbClr val="020204"/>
            </a:solidFill>
            <a:ln w="9525" cap="flat">
              <a:noFill/>
              <a:prstDash val="solid"/>
              <a:miter/>
            </a:ln>
          </p:spPr>
          <p:txBody>
            <a:bodyPr rtlCol="0" anchor="ctr"/>
            <a:lstStyle/>
            <a:p>
              <a:endParaRPr lang="pl-PL"/>
            </a:p>
          </p:txBody>
        </p:sp>
      </p:grpSp>
      <p:grpSp>
        <p:nvGrpSpPr>
          <p:cNvPr id="70" name="Grupa 69">
            <a:extLst>
              <a:ext uri="{FF2B5EF4-FFF2-40B4-BE49-F238E27FC236}">
                <a16:creationId xmlns:a16="http://schemas.microsoft.com/office/drawing/2014/main" id="{39748A9D-7BEB-4C71-8CDA-CE5ABE720F87}"/>
              </a:ext>
            </a:extLst>
          </p:cNvPr>
          <p:cNvGrpSpPr>
            <a:grpSpLocks noChangeAspect="1"/>
          </p:cNvGrpSpPr>
          <p:nvPr>
            <p:custDataLst>
              <p:tags r:id="rId14"/>
            </p:custDataLst>
          </p:nvPr>
        </p:nvGrpSpPr>
        <p:grpSpPr>
          <a:xfrm>
            <a:off x="3358950" y="5445819"/>
            <a:ext cx="520303" cy="470553"/>
            <a:chOff x="8766924" y="4642544"/>
            <a:chExt cx="638625" cy="577562"/>
          </a:xfrm>
        </p:grpSpPr>
        <p:sp>
          <p:nvSpPr>
            <p:cNvPr id="71" name="Dowolny kształt: kształt 70">
              <a:extLst>
                <a:ext uri="{FF2B5EF4-FFF2-40B4-BE49-F238E27FC236}">
                  <a16:creationId xmlns:a16="http://schemas.microsoft.com/office/drawing/2014/main" id="{174FB81C-209D-4C55-AF2F-3435B81E58BD}"/>
                </a:ext>
              </a:extLst>
            </p:cNvPr>
            <p:cNvSpPr/>
            <p:nvPr/>
          </p:nvSpPr>
          <p:spPr>
            <a:xfrm>
              <a:off x="8766924" y="4642544"/>
              <a:ext cx="577560" cy="577562"/>
            </a:xfrm>
            <a:custGeom>
              <a:avLst/>
              <a:gdLst>
                <a:gd name="connsiteX0" fmla="*/ 0 w 432434"/>
                <a:gd name="connsiteY0" fmla="*/ 216218 h 432435"/>
                <a:gd name="connsiteX1" fmla="*/ 216217 w 432434"/>
                <a:gd name="connsiteY1" fmla="*/ 0 h 432435"/>
                <a:gd name="connsiteX2" fmla="*/ 432435 w 432434"/>
                <a:gd name="connsiteY2" fmla="*/ 216218 h 432435"/>
                <a:gd name="connsiteX3" fmla="*/ 216217 w 432434"/>
                <a:gd name="connsiteY3" fmla="*/ 432435 h 432435"/>
                <a:gd name="connsiteX4" fmla="*/ 0 w 432434"/>
                <a:gd name="connsiteY4" fmla="*/ 216218 h 432435"/>
                <a:gd name="connsiteX5" fmla="*/ 0 w 432434"/>
                <a:gd name="connsiteY5" fmla="*/ 216218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4" h="432435">
                  <a:moveTo>
                    <a:pt x="0" y="216218"/>
                  </a:moveTo>
                  <a:cubicBezTo>
                    <a:pt x="0" y="97155"/>
                    <a:pt x="97155" y="0"/>
                    <a:pt x="216217" y="0"/>
                  </a:cubicBezTo>
                  <a:cubicBezTo>
                    <a:pt x="335280" y="0"/>
                    <a:pt x="432435" y="97155"/>
                    <a:pt x="432435" y="216218"/>
                  </a:cubicBezTo>
                  <a:cubicBezTo>
                    <a:pt x="432435" y="335280"/>
                    <a:pt x="335280" y="432435"/>
                    <a:pt x="216217" y="432435"/>
                  </a:cubicBezTo>
                  <a:cubicBezTo>
                    <a:pt x="97155" y="432435"/>
                    <a:pt x="0" y="335280"/>
                    <a:pt x="0" y="216218"/>
                  </a:cubicBezTo>
                  <a:lnTo>
                    <a:pt x="0" y="216218"/>
                  </a:lnTo>
                  <a:close/>
                </a:path>
              </a:pathLst>
            </a:custGeom>
            <a:solidFill>
              <a:srgbClr val="FFE74C"/>
            </a:solidFill>
            <a:ln w="9525" cap="flat">
              <a:noFill/>
              <a:prstDash val="solid"/>
              <a:miter/>
            </a:ln>
          </p:spPr>
          <p:txBody>
            <a:bodyPr rtlCol="0" anchor="ctr"/>
            <a:lstStyle/>
            <a:p>
              <a:endParaRPr lang="pl-PL"/>
            </a:p>
          </p:txBody>
        </p:sp>
        <p:sp>
          <p:nvSpPr>
            <p:cNvPr id="72" name="Dowolny kształt: kształt 71">
              <a:extLst>
                <a:ext uri="{FF2B5EF4-FFF2-40B4-BE49-F238E27FC236}">
                  <a16:creationId xmlns:a16="http://schemas.microsoft.com/office/drawing/2014/main" id="{4A56FF0D-2D63-4D9A-AEF2-20FB012C52A5}"/>
                </a:ext>
              </a:extLst>
            </p:cNvPr>
            <p:cNvSpPr/>
            <p:nvPr/>
          </p:nvSpPr>
          <p:spPr>
            <a:xfrm>
              <a:off x="8883963" y="4828280"/>
              <a:ext cx="521586" cy="332034"/>
            </a:xfrm>
            <a:custGeom>
              <a:avLst/>
              <a:gdLst>
                <a:gd name="connsiteX0" fmla="*/ 96202 w 390525"/>
                <a:gd name="connsiteY0" fmla="*/ 248603 h 248602"/>
                <a:gd name="connsiteX1" fmla="*/ 51435 w 390525"/>
                <a:gd name="connsiteY1" fmla="*/ 238125 h 248602"/>
                <a:gd name="connsiteX2" fmla="*/ 20955 w 390525"/>
                <a:gd name="connsiteY2" fmla="*/ 209550 h 248602"/>
                <a:gd name="connsiteX3" fmla="*/ 4763 w 390525"/>
                <a:gd name="connsiteY3" fmla="*/ 169545 h 248602"/>
                <a:gd name="connsiteX4" fmla="*/ 0 w 390525"/>
                <a:gd name="connsiteY4" fmla="*/ 123825 h 248602"/>
                <a:gd name="connsiteX5" fmla="*/ 4763 w 390525"/>
                <a:gd name="connsiteY5" fmla="*/ 78105 h 248602"/>
                <a:gd name="connsiteX6" fmla="*/ 20955 w 390525"/>
                <a:gd name="connsiteY6" fmla="*/ 38100 h 248602"/>
                <a:gd name="connsiteX7" fmla="*/ 51435 w 390525"/>
                <a:gd name="connsiteY7" fmla="*/ 10477 h 248602"/>
                <a:gd name="connsiteX8" fmla="*/ 96202 w 390525"/>
                <a:gd name="connsiteY8" fmla="*/ 0 h 248602"/>
                <a:gd name="connsiteX9" fmla="*/ 140017 w 390525"/>
                <a:gd name="connsiteY9" fmla="*/ 10477 h 248602"/>
                <a:gd name="connsiteX10" fmla="*/ 169545 w 390525"/>
                <a:gd name="connsiteY10" fmla="*/ 38100 h 248602"/>
                <a:gd name="connsiteX11" fmla="*/ 185738 w 390525"/>
                <a:gd name="connsiteY11" fmla="*/ 77153 h 248602"/>
                <a:gd name="connsiteX12" fmla="*/ 190500 w 390525"/>
                <a:gd name="connsiteY12" fmla="*/ 122873 h 248602"/>
                <a:gd name="connsiteX13" fmla="*/ 185738 w 390525"/>
                <a:gd name="connsiteY13" fmla="*/ 168592 h 248602"/>
                <a:gd name="connsiteX14" fmla="*/ 169545 w 390525"/>
                <a:gd name="connsiteY14" fmla="*/ 208598 h 248602"/>
                <a:gd name="connsiteX15" fmla="*/ 140017 w 390525"/>
                <a:gd name="connsiteY15" fmla="*/ 237173 h 248602"/>
                <a:gd name="connsiteX16" fmla="*/ 96202 w 390525"/>
                <a:gd name="connsiteY16" fmla="*/ 248603 h 248602"/>
                <a:gd name="connsiteX17" fmla="*/ 96202 w 390525"/>
                <a:gd name="connsiteY17" fmla="*/ 20955 h 248602"/>
                <a:gd name="connsiteX18" fmla="*/ 61913 w 390525"/>
                <a:gd name="connsiteY18" fmla="*/ 28575 h 248602"/>
                <a:gd name="connsiteX19" fmla="*/ 39052 w 390525"/>
                <a:gd name="connsiteY19" fmla="*/ 49530 h 248602"/>
                <a:gd name="connsiteX20" fmla="*/ 25717 w 390525"/>
                <a:gd name="connsiteY20" fmla="*/ 81915 h 248602"/>
                <a:gd name="connsiteX21" fmla="*/ 20955 w 390525"/>
                <a:gd name="connsiteY21" fmla="*/ 122873 h 248602"/>
                <a:gd name="connsiteX22" fmla="*/ 25717 w 390525"/>
                <a:gd name="connsiteY22" fmla="*/ 163830 h 248602"/>
                <a:gd name="connsiteX23" fmla="*/ 39052 w 390525"/>
                <a:gd name="connsiteY23" fmla="*/ 197167 h 248602"/>
                <a:gd name="connsiteX24" fmla="*/ 61913 w 390525"/>
                <a:gd name="connsiteY24" fmla="*/ 219075 h 248602"/>
                <a:gd name="connsiteX25" fmla="*/ 95250 w 390525"/>
                <a:gd name="connsiteY25" fmla="*/ 226695 h 248602"/>
                <a:gd name="connsiteX26" fmla="*/ 128588 w 390525"/>
                <a:gd name="connsiteY26" fmla="*/ 219075 h 248602"/>
                <a:gd name="connsiteX27" fmla="*/ 151447 w 390525"/>
                <a:gd name="connsiteY27" fmla="*/ 197167 h 248602"/>
                <a:gd name="connsiteX28" fmla="*/ 164783 w 390525"/>
                <a:gd name="connsiteY28" fmla="*/ 163830 h 248602"/>
                <a:gd name="connsiteX29" fmla="*/ 169545 w 390525"/>
                <a:gd name="connsiteY29" fmla="*/ 122873 h 248602"/>
                <a:gd name="connsiteX30" fmla="*/ 164783 w 390525"/>
                <a:gd name="connsiteY30" fmla="*/ 81915 h 248602"/>
                <a:gd name="connsiteX31" fmla="*/ 151447 w 390525"/>
                <a:gd name="connsiteY31" fmla="*/ 49530 h 248602"/>
                <a:gd name="connsiteX32" fmla="*/ 128588 w 390525"/>
                <a:gd name="connsiteY32" fmla="*/ 28575 h 248602"/>
                <a:gd name="connsiteX33" fmla="*/ 96202 w 390525"/>
                <a:gd name="connsiteY33" fmla="*/ 20955 h 248602"/>
                <a:gd name="connsiteX34" fmla="*/ 350520 w 390525"/>
                <a:gd name="connsiteY34" fmla="*/ 242887 h 248602"/>
                <a:gd name="connsiteX35" fmla="*/ 302895 w 390525"/>
                <a:gd name="connsiteY35" fmla="*/ 242887 h 248602"/>
                <a:gd name="connsiteX36" fmla="*/ 292417 w 390525"/>
                <a:gd name="connsiteY36" fmla="*/ 232410 h 248602"/>
                <a:gd name="connsiteX37" fmla="*/ 292417 w 390525"/>
                <a:gd name="connsiteY37" fmla="*/ 200978 h 248602"/>
                <a:gd name="connsiteX38" fmla="*/ 201930 w 390525"/>
                <a:gd name="connsiteY38" fmla="*/ 200978 h 248602"/>
                <a:gd name="connsiteX39" fmla="*/ 191452 w 390525"/>
                <a:gd name="connsiteY39" fmla="*/ 190500 h 248602"/>
                <a:gd name="connsiteX40" fmla="*/ 191452 w 390525"/>
                <a:gd name="connsiteY40" fmla="*/ 147638 h 248602"/>
                <a:gd name="connsiteX41" fmla="*/ 193358 w 390525"/>
                <a:gd name="connsiteY41" fmla="*/ 141923 h 248602"/>
                <a:gd name="connsiteX42" fmla="*/ 280988 w 390525"/>
                <a:gd name="connsiteY42" fmla="*/ 10477 h 248602"/>
                <a:gd name="connsiteX43" fmla="*/ 289560 w 390525"/>
                <a:gd name="connsiteY43" fmla="*/ 5715 h 248602"/>
                <a:gd name="connsiteX44" fmla="*/ 350520 w 390525"/>
                <a:gd name="connsiteY44" fmla="*/ 5715 h 248602"/>
                <a:gd name="connsiteX45" fmla="*/ 360997 w 390525"/>
                <a:gd name="connsiteY45" fmla="*/ 16192 h 248602"/>
                <a:gd name="connsiteX46" fmla="*/ 360997 w 390525"/>
                <a:gd name="connsiteY46" fmla="*/ 138113 h 248602"/>
                <a:gd name="connsiteX47" fmla="*/ 380047 w 390525"/>
                <a:gd name="connsiteY47" fmla="*/ 138113 h 248602"/>
                <a:gd name="connsiteX48" fmla="*/ 390525 w 390525"/>
                <a:gd name="connsiteY48" fmla="*/ 148590 h 248602"/>
                <a:gd name="connsiteX49" fmla="*/ 390525 w 390525"/>
                <a:gd name="connsiteY49" fmla="*/ 189548 h 248602"/>
                <a:gd name="connsiteX50" fmla="*/ 380047 w 390525"/>
                <a:gd name="connsiteY50" fmla="*/ 200025 h 248602"/>
                <a:gd name="connsiteX51" fmla="*/ 360997 w 390525"/>
                <a:gd name="connsiteY51" fmla="*/ 200025 h 248602"/>
                <a:gd name="connsiteX52" fmla="*/ 360997 w 390525"/>
                <a:gd name="connsiteY52" fmla="*/ 232410 h 248602"/>
                <a:gd name="connsiteX53" fmla="*/ 350520 w 390525"/>
                <a:gd name="connsiteY53" fmla="*/ 242887 h 248602"/>
                <a:gd name="connsiteX54" fmla="*/ 313372 w 390525"/>
                <a:gd name="connsiteY54" fmla="*/ 221933 h 248602"/>
                <a:gd name="connsiteX55" fmla="*/ 340042 w 390525"/>
                <a:gd name="connsiteY55" fmla="*/ 221933 h 248602"/>
                <a:gd name="connsiteX56" fmla="*/ 340042 w 390525"/>
                <a:gd name="connsiteY56" fmla="*/ 190500 h 248602"/>
                <a:gd name="connsiteX57" fmla="*/ 350520 w 390525"/>
                <a:gd name="connsiteY57" fmla="*/ 180023 h 248602"/>
                <a:gd name="connsiteX58" fmla="*/ 369570 w 390525"/>
                <a:gd name="connsiteY58" fmla="*/ 180023 h 248602"/>
                <a:gd name="connsiteX59" fmla="*/ 369570 w 390525"/>
                <a:gd name="connsiteY59" fmla="*/ 160020 h 248602"/>
                <a:gd name="connsiteX60" fmla="*/ 350520 w 390525"/>
                <a:gd name="connsiteY60" fmla="*/ 160020 h 248602"/>
                <a:gd name="connsiteX61" fmla="*/ 340042 w 390525"/>
                <a:gd name="connsiteY61" fmla="*/ 149542 h 248602"/>
                <a:gd name="connsiteX62" fmla="*/ 340042 w 390525"/>
                <a:gd name="connsiteY62" fmla="*/ 26670 h 248602"/>
                <a:gd name="connsiteX63" fmla="*/ 295275 w 390525"/>
                <a:gd name="connsiteY63" fmla="*/ 26670 h 248602"/>
                <a:gd name="connsiteX64" fmla="*/ 212408 w 390525"/>
                <a:gd name="connsiteY64" fmla="*/ 150495 h 248602"/>
                <a:gd name="connsiteX65" fmla="*/ 212408 w 390525"/>
                <a:gd name="connsiteY65" fmla="*/ 179070 h 248602"/>
                <a:gd name="connsiteX66" fmla="*/ 302895 w 390525"/>
                <a:gd name="connsiteY66" fmla="*/ 179070 h 248602"/>
                <a:gd name="connsiteX67" fmla="*/ 313372 w 390525"/>
                <a:gd name="connsiteY67" fmla="*/ 189548 h 248602"/>
                <a:gd name="connsiteX68" fmla="*/ 313372 w 390525"/>
                <a:gd name="connsiteY68" fmla="*/ 221933 h 248602"/>
                <a:gd name="connsiteX69" fmla="*/ 96202 w 390525"/>
                <a:gd name="connsiteY69" fmla="*/ 204787 h 248602"/>
                <a:gd name="connsiteX70" fmla="*/ 71438 w 390525"/>
                <a:gd name="connsiteY70" fmla="*/ 194310 h 248602"/>
                <a:gd name="connsiteX71" fmla="*/ 59055 w 390525"/>
                <a:gd name="connsiteY71" fmla="*/ 172403 h 248602"/>
                <a:gd name="connsiteX72" fmla="*/ 53340 w 390525"/>
                <a:gd name="connsiteY72" fmla="*/ 147638 h 248602"/>
                <a:gd name="connsiteX73" fmla="*/ 52388 w 390525"/>
                <a:gd name="connsiteY73" fmla="*/ 123825 h 248602"/>
                <a:gd name="connsiteX74" fmla="*/ 53340 w 390525"/>
                <a:gd name="connsiteY74" fmla="*/ 100013 h 248602"/>
                <a:gd name="connsiteX75" fmla="*/ 59055 w 390525"/>
                <a:gd name="connsiteY75" fmla="*/ 75248 h 248602"/>
                <a:gd name="connsiteX76" fmla="*/ 71438 w 390525"/>
                <a:gd name="connsiteY76" fmla="*/ 54292 h 248602"/>
                <a:gd name="connsiteX77" fmla="*/ 96202 w 390525"/>
                <a:gd name="connsiteY77" fmla="*/ 43815 h 248602"/>
                <a:gd name="connsiteX78" fmla="*/ 120967 w 390525"/>
                <a:gd name="connsiteY78" fmla="*/ 54292 h 248602"/>
                <a:gd name="connsiteX79" fmla="*/ 132397 w 390525"/>
                <a:gd name="connsiteY79" fmla="*/ 76200 h 248602"/>
                <a:gd name="connsiteX80" fmla="*/ 137160 w 390525"/>
                <a:gd name="connsiteY80" fmla="*/ 100965 h 248602"/>
                <a:gd name="connsiteX81" fmla="*/ 138113 w 390525"/>
                <a:gd name="connsiteY81" fmla="*/ 124778 h 248602"/>
                <a:gd name="connsiteX82" fmla="*/ 137160 w 390525"/>
                <a:gd name="connsiteY82" fmla="*/ 148590 h 248602"/>
                <a:gd name="connsiteX83" fmla="*/ 132397 w 390525"/>
                <a:gd name="connsiteY83" fmla="*/ 173355 h 248602"/>
                <a:gd name="connsiteX84" fmla="*/ 120967 w 390525"/>
                <a:gd name="connsiteY84" fmla="*/ 195262 h 248602"/>
                <a:gd name="connsiteX85" fmla="*/ 96202 w 390525"/>
                <a:gd name="connsiteY85" fmla="*/ 204787 h 248602"/>
                <a:gd name="connsiteX86" fmla="*/ 96202 w 390525"/>
                <a:gd name="connsiteY86" fmla="*/ 64770 h 248602"/>
                <a:gd name="connsiteX87" fmla="*/ 87630 w 390525"/>
                <a:gd name="connsiteY87" fmla="*/ 68580 h 248602"/>
                <a:gd name="connsiteX88" fmla="*/ 80010 w 390525"/>
                <a:gd name="connsiteY88" fmla="*/ 82867 h 248602"/>
                <a:gd name="connsiteX89" fmla="*/ 76200 w 390525"/>
                <a:gd name="connsiteY89" fmla="*/ 102870 h 248602"/>
                <a:gd name="connsiteX90" fmla="*/ 75247 w 390525"/>
                <a:gd name="connsiteY90" fmla="*/ 123825 h 248602"/>
                <a:gd name="connsiteX91" fmla="*/ 76200 w 390525"/>
                <a:gd name="connsiteY91" fmla="*/ 145733 h 248602"/>
                <a:gd name="connsiteX92" fmla="*/ 80963 w 390525"/>
                <a:gd name="connsiteY92" fmla="*/ 166687 h 248602"/>
                <a:gd name="connsiteX93" fmla="*/ 88583 w 390525"/>
                <a:gd name="connsiteY93" fmla="*/ 180975 h 248602"/>
                <a:gd name="connsiteX94" fmla="*/ 97155 w 390525"/>
                <a:gd name="connsiteY94" fmla="*/ 184785 h 248602"/>
                <a:gd name="connsiteX95" fmla="*/ 105727 w 390525"/>
                <a:gd name="connsiteY95" fmla="*/ 180975 h 248602"/>
                <a:gd name="connsiteX96" fmla="*/ 113347 w 390525"/>
                <a:gd name="connsiteY96" fmla="*/ 166687 h 248602"/>
                <a:gd name="connsiteX97" fmla="*/ 117158 w 390525"/>
                <a:gd name="connsiteY97" fmla="*/ 145733 h 248602"/>
                <a:gd name="connsiteX98" fmla="*/ 118110 w 390525"/>
                <a:gd name="connsiteY98" fmla="*/ 123825 h 248602"/>
                <a:gd name="connsiteX99" fmla="*/ 117158 w 390525"/>
                <a:gd name="connsiteY99" fmla="*/ 102870 h 248602"/>
                <a:gd name="connsiteX100" fmla="*/ 113347 w 390525"/>
                <a:gd name="connsiteY100" fmla="*/ 81915 h 248602"/>
                <a:gd name="connsiteX101" fmla="*/ 105727 w 390525"/>
                <a:gd name="connsiteY101" fmla="*/ 67628 h 248602"/>
                <a:gd name="connsiteX102" fmla="*/ 96202 w 390525"/>
                <a:gd name="connsiteY102" fmla="*/ 64770 h 248602"/>
                <a:gd name="connsiteX103" fmla="*/ 302895 w 390525"/>
                <a:gd name="connsiteY103" fmla="*/ 159067 h 248602"/>
                <a:gd name="connsiteX104" fmla="*/ 250508 w 390525"/>
                <a:gd name="connsiteY104" fmla="*/ 159067 h 248602"/>
                <a:gd name="connsiteX105" fmla="*/ 240983 w 390525"/>
                <a:gd name="connsiteY105" fmla="*/ 153353 h 248602"/>
                <a:gd name="connsiteX106" fmla="*/ 240983 w 390525"/>
                <a:gd name="connsiteY106" fmla="*/ 142875 h 248602"/>
                <a:gd name="connsiteX107" fmla="*/ 292417 w 390525"/>
                <a:gd name="connsiteY107" fmla="*/ 62865 h 248602"/>
                <a:gd name="connsiteX108" fmla="*/ 300990 w 390525"/>
                <a:gd name="connsiteY108" fmla="*/ 58103 h 248602"/>
                <a:gd name="connsiteX109" fmla="*/ 301942 w 390525"/>
                <a:gd name="connsiteY109" fmla="*/ 58103 h 248602"/>
                <a:gd name="connsiteX110" fmla="*/ 312420 w 390525"/>
                <a:gd name="connsiteY110" fmla="*/ 68580 h 248602"/>
                <a:gd name="connsiteX111" fmla="*/ 312420 w 390525"/>
                <a:gd name="connsiteY111" fmla="*/ 148590 h 248602"/>
                <a:gd name="connsiteX112" fmla="*/ 302895 w 390525"/>
                <a:gd name="connsiteY112" fmla="*/ 159067 h 248602"/>
                <a:gd name="connsiteX113" fmla="*/ 270510 w 390525"/>
                <a:gd name="connsiteY113" fmla="*/ 138113 h 248602"/>
                <a:gd name="connsiteX114" fmla="*/ 292417 w 390525"/>
                <a:gd name="connsiteY114" fmla="*/ 138113 h 248602"/>
                <a:gd name="connsiteX115" fmla="*/ 292417 w 390525"/>
                <a:gd name="connsiteY115" fmla="*/ 103823 h 248602"/>
                <a:gd name="connsiteX116" fmla="*/ 270510 w 390525"/>
                <a:gd name="connsiteY116" fmla="*/ 138113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90525" h="248602">
                  <a:moveTo>
                    <a:pt x="96202" y="248603"/>
                  </a:moveTo>
                  <a:cubicBezTo>
                    <a:pt x="79058" y="248603"/>
                    <a:pt x="63817" y="244792"/>
                    <a:pt x="51435" y="238125"/>
                  </a:cubicBezTo>
                  <a:cubicBezTo>
                    <a:pt x="39052" y="231458"/>
                    <a:pt x="29527" y="221933"/>
                    <a:pt x="20955" y="209550"/>
                  </a:cubicBezTo>
                  <a:cubicBezTo>
                    <a:pt x="13335" y="198120"/>
                    <a:pt x="7620" y="184785"/>
                    <a:pt x="4763" y="169545"/>
                  </a:cubicBezTo>
                  <a:cubicBezTo>
                    <a:pt x="1905" y="155258"/>
                    <a:pt x="0" y="140017"/>
                    <a:pt x="0" y="123825"/>
                  </a:cubicBezTo>
                  <a:cubicBezTo>
                    <a:pt x="0" y="107632"/>
                    <a:pt x="1905" y="92392"/>
                    <a:pt x="4763" y="78105"/>
                  </a:cubicBezTo>
                  <a:cubicBezTo>
                    <a:pt x="8572" y="62865"/>
                    <a:pt x="13335" y="49530"/>
                    <a:pt x="20955" y="38100"/>
                  </a:cubicBezTo>
                  <a:cubicBezTo>
                    <a:pt x="28575" y="26670"/>
                    <a:pt x="39052" y="17145"/>
                    <a:pt x="51435" y="10477"/>
                  </a:cubicBezTo>
                  <a:cubicBezTo>
                    <a:pt x="63817" y="3810"/>
                    <a:pt x="79058" y="0"/>
                    <a:pt x="96202" y="0"/>
                  </a:cubicBezTo>
                  <a:cubicBezTo>
                    <a:pt x="113347" y="0"/>
                    <a:pt x="127635" y="3810"/>
                    <a:pt x="140017" y="10477"/>
                  </a:cubicBezTo>
                  <a:cubicBezTo>
                    <a:pt x="152400" y="17145"/>
                    <a:pt x="161925" y="26670"/>
                    <a:pt x="169545" y="38100"/>
                  </a:cubicBezTo>
                  <a:cubicBezTo>
                    <a:pt x="177165" y="49530"/>
                    <a:pt x="181927" y="62865"/>
                    <a:pt x="185738" y="77153"/>
                  </a:cubicBezTo>
                  <a:cubicBezTo>
                    <a:pt x="188595" y="91440"/>
                    <a:pt x="190500" y="106680"/>
                    <a:pt x="190500" y="122873"/>
                  </a:cubicBezTo>
                  <a:cubicBezTo>
                    <a:pt x="190500" y="139065"/>
                    <a:pt x="188595" y="154305"/>
                    <a:pt x="185738" y="168592"/>
                  </a:cubicBezTo>
                  <a:cubicBezTo>
                    <a:pt x="181927" y="183833"/>
                    <a:pt x="177165" y="197167"/>
                    <a:pt x="169545" y="208598"/>
                  </a:cubicBezTo>
                  <a:cubicBezTo>
                    <a:pt x="161925" y="220028"/>
                    <a:pt x="152400" y="230505"/>
                    <a:pt x="140017" y="237173"/>
                  </a:cubicBezTo>
                  <a:cubicBezTo>
                    <a:pt x="127635" y="244792"/>
                    <a:pt x="113347" y="248603"/>
                    <a:pt x="96202" y="248603"/>
                  </a:cubicBezTo>
                  <a:close/>
                  <a:moveTo>
                    <a:pt x="96202" y="20955"/>
                  </a:moveTo>
                  <a:cubicBezTo>
                    <a:pt x="82867" y="20955"/>
                    <a:pt x="71438" y="23813"/>
                    <a:pt x="61913" y="28575"/>
                  </a:cubicBezTo>
                  <a:cubicBezTo>
                    <a:pt x="52388" y="34290"/>
                    <a:pt x="44767" y="40957"/>
                    <a:pt x="39052" y="49530"/>
                  </a:cubicBezTo>
                  <a:cubicBezTo>
                    <a:pt x="33338" y="59055"/>
                    <a:pt x="28575" y="69532"/>
                    <a:pt x="25717" y="81915"/>
                  </a:cubicBezTo>
                  <a:cubicBezTo>
                    <a:pt x="22860" y="95250"/>
                    <a:pt x="20955" y="108585"/>
                    <a:pt x="20955" y="122873"/>
                  </a:cubicBezTo>
                  <a:cubicBezTo>
                    <a:pt x="20955" y="137160"/>
                    <a:pt x="22860" y="151448"/>
                    <a:pt x="25717" y="163830"/>
                  </a:cubicBezTo>
                  <a:cubicBezTo>
                    <a:pt x="28575" y="176212"/>
                    <a:pt x="33338" y="187642"/>
                    <a:pt x="39052" y="197167"/>
                  </a:cubicBezTo>
                  <a:cubicBezTo>
                    <a:pt x="44767" y="206692"/>
                    <a:pt x="52388" y="213360"/>
                    <a:pt x="61913" y="219075"/>
                  </a:cubicBezTo>
                  <a:cubicBezTo>
                    <a:pt x="71438" y="223837"/>
                    <a:pt x="81915" y="226695"/>
                    <a:pt x="95250" y="226695"/>
                  </a:cubicBezTo>
                  <a:cubicBezTo>
                    <a:pt x="108585" y="226695"/>
                    <a:pt x="120015" y="223837"/>
                    <a:pt x="128588" y="219075"/>
                  </a:cubicBezTo>
                  <a:cubicBezTo>
                    <a:pt x="138113" y="213360"/>
                    <a:pt x="145733" y="206692"/>
                    <a:pt x="151447" y="197167"/>
                  </a:cubicBezTo>
                  <a:cubicBezTo>
                    <a:pt x="157163" y="187642"/>
                    <a:pt x="161925" y="177165"/>
                    <a:pt x="164783" y="163830"/>
                  </a:cubicBezTo>
                  <a:cubicBezTo>
                    <a:pt x="167640" y="150495"/>
                    <a:pt x="169545" y="137160"/>
                    <a:pt x="169545" y="122873"/>
                  </a:cubicBezTo>
                  <a:cubicBezTo>
                    <a:pt x="169545" y="108585"/>
                    <a:pt x="167640" y="94298"/>
                    <a:pt x="164783" y="81915"/>
                  </a:cubicBezTo>
                  <a:cubicBezTo>
                    <a:pt x="161925" y="69532"/>
                    <a:pt x="157163" y="59055"/>
                    <a:pt x="151447" y="49530"/>
                  </a:cubicBezTo>
                  <a:cubicBezTo>
                    <a:pt x="145733" y="40957"/>
                    <a:pt x="138113" y="33338"/>
                    <a:pt x="128588" y="28575"/>
                  </a:cubicBezTo>
                  <a:cubicBezTo>
                    <a:pt x="120015" y="23813"/>
                    <a:pt x="109538" y="20955"/>
                    <a:pt x="96202" y="20955"/>
                  </a:cubicBezTo>
                  <a:close/>
                  <a:moveTo>
                    <a:pt x="350520" y="242887"/>
                  </a:moveTo>
                  <a:lnTo>
                    <a:pt x="302895" y="242887"/>
                  </a:lnTo>
                  <a:cubicBezTo>
                    <a:pt x="297180" y="242887"/>
                    <a:pt x="292417" y="238125"/>
                    <a:pt x="292417" y="232410"/>
                  </a:cubicBezTo>
                  <a:lnTo>
                    <a:pt x="292417" y="200978"/>
                  </a:lnTo>
                  <a:lnTo>
                    <a:pt x="201930" y="200978"/>
                  </a:lnTo>
                  <a:cubicBezTo>
                    <a:pt x="196215" y="200978"/>
                    <a:pt x="191452" y="196215"/>
                    <a:pt x="191452" y="190500"/>
                  </a:cubicBezTo>
                  <a:lnTo>
                    <a:pt x="191452" y="147638"/>
                  </a:lnTo>
                  <a:cubicBezTo>
                    <a:pt x="191452" y="145733"/>
                    <a:pt x="192405" y="143828"/>
                    <a:pt x="193358" y="141923"/>
                  </a:cubicBezTo>
                  <a:lnTo>
                    <a:pt x="280988" y="10477"/>
                  </a:lnTo>
                  <a:cubicBezTo>
                    <a:pt x="282892" y="7620"/>
                    <a:pt x="286702" y="5715"/>
                    <a:pt x="289560" y="5715"/>
                  </a:cubicBezTo>
                  <a:lnTo>
                    <a:pt x="350520" y="5715"/>
                  </a:lnTo>
                  <a:cubicBezTo>
                    <a:pt x="356235" y="5715"/>
                    <a:pt x="360997" y="10477"/>
                    <a:pt x="360997" y="16192"/>
                  </a:cubicBezTo>
                  <a:lnTo>
                    <a:pt x="360997" y="138113"/>
                  </a:lnTo>
                  <a:lnTo>
                    <a:pt x="380047" y="138113"/>
                  </a:lnTo>
                  <a:cubicBezTo>
                    <a:pt x="385763" y="138113"/>
                    <a:pt x="390525" y="142875"/>
                    <a:pt x="390525" y="148590"/>
                  </a:cubicBezTo>
                  <a:lnTo>
                    <a:pt x="390525" y="189548"/>
                  </a:lnTo>
                  <a:cubicBezTo>
                    <a:pt x="390525" y="195262"/>
                    <a:pt x="385763" y="200025"/>
                    <a:pt x="380047" y="200025"/>
                  </a:cubicBezTo>
                  <a:lnTo>
                    <a:pt x="360997" y="200025"/>
                  </a:lnTo>
                  <a:lnTo>
                    <a:pt x="360997" y="232410"/>
                  </a:lnTo>
                  <a:cubicBezTo>
                    <a:pt x="360997" y="238125"/>
                    <a:pt x="356235" y="242887"/>
                    <a:pt x="350520" y="242887"/>
                  </a:cubicBezTo>
                  <a:close/>
                  <a:moveTo>
                    <a:pt x="313372" y="221933"/>
                  </a:moveTo>
                  <a:lnTo>
                    <a:pt x="340042" y="221933"/>
                  </a:lnTo>
                  <a:lnTo>
                    <a:pt x="340042" y="190500"/>
                  </a:lnTo>
                  <a:cubicBezTo>
                    <a:pt x="340042" y="184785"/>
                    <a:pt x="344805" y="180023"/>
                    <a:pt x="350520" y="180023"/>
                  </a:cubicBezTo>
                  <a:lnTo>
                    <a:pt x="369570" y="180023"/>
                  </a:lnTo>
                  <a:lnTo>
                    <a:pt x="369570" y="160020"/>
                  </a:lnTo>
                  <a:lnTo>
                    <a:pt x="350520" y="160020"/>
                  </a:lnTo>
                  <a:cubicBezTo>
                    <a:pt x="344805" y="160020"/>
                    <a:pt x="340042" y="155258"/>
                    <a:pt x="340042" y="149542"/>
                  </a:cubicBezTo>
                  <a:lnTo>
                    <a:pt x="340042" y="26670"/>
                  </a:lnTo>
                  <a:lnTo>
                    <a:pt x="295275" y="26670"/>
                  </a:lnTo>
                  <a:lnTo>
                    <a:pt x="212408" y="150495"/>
                  </a:lnTo>
                  <a:lnTo>
                    <a:pt x="212408" y="179070"/>
                  </a:lnTo>
                  <a:lnTo>
                    <a:pt x="302895" y="179070"/>
                  </a:lnTo>
                  <a:cubicBezTo>
                    <a:pt x="308610" y="179070"/>
                    <a:pt x="313372" y="183833"/>
                    <a:pt x="313372" y="189548"/>
                  </a:cubicBezTo>
                  <a:lnTo>
                    <a:pt x="313372" y="221933"/>
                  </a:lnTo>
                  <a:close/>
                  <a:moveTo>
                    <a:pt x="96202" y="204787"/>
                  </a:moveTo>
                  <a:cubicBezTo>
                    <a:pt x="86677" y="204787"/>
                    <a:pt x="78105" y="200978"/>
                    <a:pt x="71438" y="194310"/>
                  </a:cubicBezTo>
                  <a:cubicBezTo>
                    <a:pt x="66675" y="188595"/>
                    <a:pt x="61913" y="180975"/>
                    <a:pt x="59055" y="172403"/>
                  </a:cubicBezTo>
                  <a:cubicBezTo>
                    <a:pt x="56197" y="164783"/>
                    <a:pt x="54292" y="156210"/>
                    <a:pt x="53340" y="147638"/>
                  </a:cubicBezTo>
                  <a:cubicBezTo>
                    <a:pt x="52388" y="139065"/>
                    <a:pt x="52388" y="131445"/>
                    <a:pt x="52388" y="123825"/>
                  </a:cubicBezTo>
                  <a:cubicBezTo>
                    <a:pt x="52388" y="117157"/>
                    <a:pt x="52388" y="108585"/>
                    <a:pt x="53340" y="100013"/>
                  </a:cubicBezTo>
                  <a:cubicBezTo>
                    <a:pt x="54292" y="91440"/>
                    <a:pt x="56197" y="82867"/>
                    <a:pt x="59055" y="75248"/>
                  </a:cubicBezTo>
                  <a:cubicBezTo>
                    <a:pt x="61913" y="66675"/>
                    <a:pt x="65722" y="60007"/>
                    <a:pt x="71438" y="54292"/>
                  </a:cubicBezTo>
                  <a:cubicBezTo>
                    <a:pt x="78105" y="47625"/>
                    <a:pt x="86677" y="43815"/>
                    <a:pt x="96202" y="43815"/>
                  </a:cubicBezTo>
                  <a:cubicBezTo>
                    <a:pt x="105727" y="43815"/>
                    <a:pt x="114300" y="47625"/>
                    <a:pt x="120967" y="54292"/>
                  </a:cubicBezTo>
                  <a:cubicBezTo>
                    <a:pt x="125730" y="60007"/>
                    <a:pt x="130492" y="67628"/>
                    <a:pt x="132397" y="76200"/>
                  </a:cubicBezTo>
                  <a:cubicBezTo>
                    <a:pt x="135255" y="83820"/>
                    <a:pt x="136208" y="92392"/>
                    <a:pt x="137160" y="100965"/>
                  </a:cubicBezTo>
                  <a:cubicBezTo>
                    <a:pt x="138113" y="109538"/>
                    <a:pt x="138113" y="117157"/>
                    <a:pt x="138113" y="124778"/>
                  </a:cubicBezTo>
                  <a:cubicBezTo>
                    <a:pt x="138113" y="132398"/>
                    <a:pt x="138113" y="140017"/>
                    <a:pt x="137160" y="148590"/>
                  </a:cubicBezTo>
                  <a:cubicBezTo>
                    <a:pt x="136208" y="157163"/>
                    <a:pt x="134302" y="165735"/>
                    <a:pt x="132397" y="173355"/>
                  </a:cubicBezTo>
                  <a:cubicBezTo>
                    <a:pt x="129540" y="181928"/>
                    <a:pt x="125730" y="188595"/>
                    <a:pt x="120967" y="195262"/>
                  </a:cubicBezTo>
                  <a:cubicBezTo>
                    <a:pt x="114300" y="200978"/>
                    <a:pt x="105727" y="204787"/>
                    <a:pt x="96202" y="204787"/>
                  </a:cubicBezTo>
                  <a:close/>
                  <a:moveTo>
                    <a:pt x="96202" y="64770"/>
                  </a:moveTo>
                  <a:cubicBezTo>
                    <a:pt x="92392" y="64770"/>
                    <a:pt x="89535" y="65723"/>
                    <a:pt x="87630" y="68580"/>
                  </a:cubicBezTo>
                  <a:cubicBezTo>
                    <a:pt x="84772" y="72390"/>
                    <a:pt x="81915" y="77153"/>
                    <a:pt x="80010" y="82867"/>
                  </a:cubicBezTo>
                  <a:cubicBezTo>
                    <a:pt x="78105" y="89535"/>
                    <a:pt x="76200" y="96203"/>
                    <a:pt x="76200" y="102870"/>
                  </a:cubicBezTo>
                  <a:cubicBezTo>
                    <a:pt x="75247" y="110490"/>
                    <a:pt x="75247" y="118110"/>
                    <a:pt x="75247" y="123825"/>
                  </a:cubicBezTo>
                  <a:cubicBezTo>
                    <a:pt x="75247" y="130492"/>
                    <a:pt x="75247" y="138113"/>
                    <a:pt x="76200" y="145733"/>
                  </a:cubicBezTo>
                  <a:cubicBezTo>
                    <a:pt x="77152" y="153353"/>
                    <a:pt x="78105" y="160020"/>
                    <a:pt x="80963" y="166687"/>
                  </a:cubicBezTo>
                  <a:cubicBezTo>
                    <a:pt x="82867" y="172403"/>
                    <a:pt x="85725" y="177165"/>
                    <a:pt x="88583" y="180975"/>
                  </a:cubicBezTo>
                  <a:cubicBezTo>
                    <a:pt x="90488" y="183833"/>
                    <a:pt x="93345" y="184785"/>
                    <a:pt x="97155" y="184785"/>
                  </a:cubicBezTo>
                  <a:cubicBezTo>
                    <a:pt x="100965" y="184785"/>
                    <a:pt x="102870" y="183833"/>
                    <a:pt x="105727" y="180975"/>
                  </a:cubicBezTo>
                  <a:cubicBezTo>
                    <a:pt x="108585" y="177165"/>
                    <a:pt x="111442" y="172403"/>
                    <a:pt x="113347" y="166687"/>
                  </a:cubicBezTo>
                  <a:cubicBezTo>
                    <a:pt x="115252" y="160020"/>
                    <a:pt x="117158" y="153353"/>
                    <a:pt x="117158" y="145733"/>
                  </a:cubicBezTo>
                  <a:cubicBezTo>
                    <a:pt x="118110" y="138113"/>
                    <a:pt x="118110" y="130492"/>
                    <a:pt x="118110" y="123825"/>
                  </a:cubicBezTo>
                  <a:cubicBezTo>
                    <a:pt x="118110" y="117157"/>
                    <a:pt x="118110" y="110490"/>
                    <a:pt x="117158" y="102870"/>
                  </a:cubicBezTo>
                  <a:cubicBezTo>
                    <a:pt x="116205" y="95250"/>
                    <a:pt x="115252" y="88582"/>
                    <a:pt x="113347" y="81915"/>
                  </a:cubicBezTo>
                  <a:cubicBezTo>
                    <a:pt x="111442" y="76200"/>
                    <a:pt x="108585" y="71438"/>
                    <a:pt x="105727" y="67628"/>
                  </a:cubicBezTo>
                  <a:cubicBezTo>
                    <a:pt x="101917" y="65723"/>
                    <a:pt x="99060" y="64770"/>
                    <a:pt x="96202" y="64770"/>
                  </a:cubicBezTo>
                  <a:close/>
                  <a:moveTo>
                    <a:pt x="302895" y="159067"/>
                  </a:moveTo>
                  <a:lnTo>
                    <a:pt x="250508" y="159067"/>
                  </a:lnTo>
                  <a:cubicBezTo>
                    <a:pt x="246697" y="159067"/>
                    <a:pt x="242888" y="157163"/>
                    <a:pt x="240983" y="153353"/>
                  </a:cubicBezTo>
                  <a:cubicBezTo>
                    <a:pt x="239077" y="149542"/>
                    <a:pt x="239077" y="145733"/>
                    <a:pt x="240983" y="142875"/>
                  </a:cubicBezTo>
                  <a:lnTo>
                    <a:pt x="292417" y="62865"/>
                  </a:lnTo>
                  <a:cubicBezTo>
                    <a:pt x="294322" y="60007"/>
                    <a:pt x="298133" y="58103"/>
                    <a:pt x="300990" y="58103"/>
                  </a:cubicBezTo>
                  <a:lnTo>
                    <a:pt x="301942" y="58103"/>
                  </a:lnTo>
                  <a:cubicBezTo>
                    <a:pt x="307658" y="58103"/>
                    <a:pt x="312420" y="62865"/>
                    <a:pt x="312420" y="68580"/>
                  </a:cubicBezTo>
                  <a:lnTo>
                    <a:pt x="312420" y="148590"/>
                  </a:lnTo>
                  <a:cubicBezTo>
                    <a:pt x="313372" y="154305"/>
                    <a:pt x="308610" y="159067"/>
                    <a:pt x="302895" y="159067"/>
                  </a:cubicBezTo>
                  <a:close/>
                  <a:moveTo>
                    <a:pt x="270510" y="138113"/>
                  </a:moveTo>
                  <a:lnTo>
                    <a:pt x="292417" y="138113"/>
                  </a:lnTo>
                  <a:lnTo>
                    <a:pt x="292417" y="103823"/>
                  </a:lnTo>
                  <a:lnTo>
                    <a:pt x="270510" y="138113"/>
                  </a:lnTo>
                  <a:close/>
                </a:path>
              </a:pathLst>
            </a:custGeom>
            <a:solidFill>
              <a:srgbClr val="020204"/>
            </a:solidFill>
            <a:ln w="9525" cap="flat">
              <a:noFill/>
              <a:prstDash val="solid"/>
              <a:miter/>
            </a:ln>
          </p:spPr>
          <p:txBody>
            <a:bodyPr rtlCol="0" anchor="ctr"/>
            <a:lstStyle/>
            <a:p>
              <a:endParaRPr lang="pl-PL"/>
            </a:p>
          </p:txBody>
        </p:sp>
      </p:grpSp>
      <p:sp>
        <p:nvSpPr>
          <p:cNvPr id="51" name="Grafik 65">
            <a:extLst>
              <a:ext uri="{FF2B5EF4-FFF2-40B4-BE49-F238E27FC236}">
                <a16:creationId xmlns:a16="http://schemas.microsoft.com/office/drawing/2014/main" id="{A20FE369-1819-4171-AA8E-323964230F74}"/>
              </a:ext>
            </a:extLst>
          </p:cNvPr>
          <p:cNvSpPr/>
          <p:nvPr>
            <p:custDataLst>
              <p:tags r:id="rId15"/>
            </p:custDataLst>
          </p:nvPr>
        </p:nvSpPr>
        <p:spPr>
          <a:xfrm rot="16200000" flipH="1" flipV="1">
            <a:off x="3515405" y="4941403"/>
            <a:ext cx="199100" cy="255250"/>
          </a:xfrm>
          <a:custGeom>
            <a:avLst/>
            <a:gdLst>
              <a:gd name="connsiteX0" fmla="*/ 38010 w 316917"/>
              <a:gd name="connsiteY0" fmla="*/ 406292 h 406292"/>
              <a:gd name="connsiteX1" fmla="*/ 6934 w 316917"/>
              <a:gd name="connsiteY1" fmla="*/ 390112 h 406292"/>
              <a:gd name="connsiteX2" fmla="*/ 0 w 316917"/>
              <a:gd name="connsiteY2" fmla="*/ 368154 h 406292"/>
              <a:gd name="connsiteX3" fmla="*/ 16051 w 316917"/>
              <a:gd name="connsiteY3" fmla="*/ 337079 h 406292"/>
              <a:gd name="connsiteX4" fmla="*/ 211621 w 316917"/>
              <a:gd name="connsiteY4" fmla="*/ 203146 h 406292"/>
              <a:gd name="connsiteX5" fmla="*/ 16308 w 316917"/>
              <a:gd name="connsiteY5" fmla="*/ 69470 h 406292"/>
              <a:gd name="connsiteX6" fmla="*/ 6677 w 316917"/>
              <a:gd name="connsiteY6" fmla="*/ 16565 h 406292"/>
              <a:gd name="connsiteX7" fmla="*/ 38266 w 316917"/>
              <a:gd name="connsiteY7" fmla="*/ 0 h 406292"/>
              <a:gd name="connsiteX8" fmla="*/ 59968 w 316917"/>
              <a:gd name="connsiteY8" fmla="*/ 6934 h 406292"/>
              <a:gd name="connsiteX9" fmla="*/ 300610 w 316917"/>
              <a:gd name="connsiteY9" fmla="*/ 171814 h 406292"/>
              <a:gd name="connsiteX10" fmla="*/ 316918 w 316917"/>
              <a:gd name="connsiteY10" fmla="*/ 203146 h 406292"/>
              <a:gd name="connsiteX11" fmla="*/ 300224 w 316917"/>
              <a:gd name="connsiteY11" fmla="*/ 234735 h 406292"/>
              <a:gd name="connsiteX12" fmla="*/ 59711 w 316917"/>
              <a:gd name="connsiteY12" fmla="*/ 399486 h 406292"/>
              <a:gd name="connsiteX13" fmla="*/ 38010 w 316917"/>
              <a:gd name="connsiteY13" fmla="*/ 406292 h 406292"/>
              <a:gd name="connsiteX14" fmla="*/ 38010 w 316917"/>
              <a:gd name="connsiteY14" fmla="*/ 406292 h 40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917" h="406292">
                <a:moveTo>
                  <a:pt x="38010" y="406292"/>
                </a:moveTo>
                <a:cubicBezTo>
                  <a:pt x="25811" y="406292"/>
                  <a:pt x="14254" y="400257"/>
                  <a:pt x="6934" y="390112"/>
                </a:cubicBezTo>
                <a:cubicBezTo>
                  <a:pt x="2311" y="383820"/>
                  <a:pt x="0" y="376244"/>
                  <a:pt x="0" y="368154"/>
                </a:cubicBezTo>
                <a:cubicBezTo>
                  <a:pt x="0" y="356084"/>
                  <a:pt x="6164" y="344141"/>
                  <a:pt x="16051" y="337079"/>
                </a:cubicBezTo>
                <a:lnTo>
                  <a:pt x="211621" y="203146"/>
                </a:lnTo>
                <a:lnTo>
                  <a:pt x="16308" y="69470"/>
                </a:lnTo>
                <a:cubicBezTo>
                  <a:pt x="-514" y="57271"/>
                  <a:pt x="-4751" y="33644"/>
                  <a:pt x="6677" y="16565"/>
                </a:cubicBezTo>
                <a:cubicBezTo>
                  <a:pt x="14125" y="6035"/>
                  <a:pt x="25939" y="0"/>
                  <a:pt x="38266" y="0"/>
                </a:cubicBezTo>
                <a:cubicBezTo>
                  <a:pt x="46099" y="0"/>
                  <a:pt x="53676" y="2440"/>
                  <a:pt x="59968" y="6934"/>
                </a:cubicBezTo>
                <a:lnTo>
                  <a:pt x="300610" y="171814"/>
                </a:lnTo>
                <a:cubicBezTo>
                  <a:pt x="310497" y="178106"/>
                  <a:pt x="316918" y="190177"/>
                  <a:pt x="316918" y="203146"/>
                </a:cubicBezTo>
                <a:cubicBezTo>
                  <a:pt x="316918" y="216116"/>
                  <a:pt x="310497" y="228186"/>
                  <a:pt x="300224" y="234735"/>
                </a:cubicBezTo>
                <a:lnTo>
                  <a:pt x="59711" y="399486"/>
                </a:lnTo>
                <a:cubicBezTo>
                  <a:pt x="53162" y="403981"/>
                  <a:pt x="45714" y="406292"/>
                  <a:pt x="38010" y="406292"/>
                </a:cubicBezTo>
                <a:cubicBezTo>
                  <a:pt x="38010" y="406292"/>
                  <a:pt x="38010" y="406292"/>
                  <a:pt x="38010" y="406292"/>
                </a:cubicBezTo>
                <a:close/>
              </a:path>
            </a:pathLst>
          </a:custGeom>
          <a:solidFill>
            <a:srgbClr val="000000"/>
          </a:solidFill>
          <a:ln w="12573" cap="flat">
            <a:noFill/>
            <a:prstDash val="solid"/>
            <a:miter/>
          </a:ln>
        </p:spPr>
        <p:txBody>
          <a:bodyPr rtlCol="0" anchor="ctr"/>
          <a:lstStyle/>
          <a:p>
            <a:endParaRPr lang="de-DE"/>
          </a:p>
        </p:txBody>
      </p:sp>
      <p:sp>
        <p:nvSpPr>
          <p:cNvPr id="55" name="Grafik 65">
            <a:extLst>
              <a:ext uri="{FF2B5EF4-FFF2-40B4-BE49-F238E27FC236}">
                <a16:creationId xmlns:a16="http://schemas.microsoft.com/office/drawing/2014/main" id="{04274831-7C92-4362-B495-C856653A674E}"/>
              </a:ext>
            </a:extLst>
          </p:cNvPr>
          <p:cNvSpPr/>
          <p:nvPr>
            <p:custDataLst>
              <p:tags r:id="rId16"/>
            </p:custDataLst>
          </p:nvPr>
        </p:nvSpPr>
        <p:spPr>
          <a:xfrm rot="16200000" flipH="1" flipV="1">
            <a:off x="3515405" y="3717267"/>
            <a:ext cx="199100" cy="255250"/>
          </a:xfrm>
          <a:custGeom>
            <a:avLst/>
            <a:gdLst>
              <a:gd name="connsiteX0" fmla="*/ 38010 w 316917"/>
              <a:gd name="connsiteY0" fmla="*/ 406292 h 406292"/>
              <a:gd name="connsiteX1" fmla="*/ 6934 w 316917"/>
              <a:gd name="connsiteY1" fmla="*/ 390112 h 406292"/>
              <a:gd name="connsiteX2" fmla="*/ 0 w 316917"/>
              <a:gd name="connsiteY2" fmla="*/ 368154 h 406292"/>
              <a:gd name="connsiteX3" fmla="*/ 16051 w 316917"/>
              <a:gd name="connsiteY3" fmla="*/ 337079 h 406292"/>
              <a:gd name="connsiteX4" fmla="*/ 211621 w 316917"/>
              <a:gd name="connsiteY4" fmla="*/ 203146 h 406292"/>
              <a:gd name="connsiteX5" fmla="*/ 16308 w 316917"/>
              <a:gd name="connsiteY5" fmla="*/ 69470 h 406292"/>
              <a:gd name="connsiteX6" fmla="*/ 6677 w 316917"/>
              <a:gd name="connsiteY6" fmla="*/ 16565 h 406292"/>
              <a:gd name="connsiteX7" fmla="*/ 38266 w 316917"/>
              <a:gd name="connsiteY7" fmla="*/ 0 h 406292"/>
              <a:gd name="connsiteX8" fmla="*/ 59968 w 316917"/>
              <a:gd name="connsiteY8" fmla="*/ 6934 h 406292"/>
              <a:gd name="connsiteX9" fmla="*/ 300610 w 316917"/>
              <a:gd name="connsiteY9" fmla="*/ 171814 h 406292"/>
              <a:gd name="connsiteX10" fmla="*/ 316918 w 316917"/>
              <a:gd name="connsiteY10" fmla="*/ 203146 h 406292"/>
              <a:gd name="connsiteX11" fmla="*/ 300224 w 316917"/>
              <a:gd name="connsiteY11" fmla="*/ 234735 h 406292"/>
              <a:gd name="connsiteX12" fmla="*/ 59711 w 316917"/>
              <a:gd name="connsiteY12" fmla="*/ 399486 h 406292"/>
              <a:gd name="connsiteX13" fmla="*/ 38010 w 316917"/>
              <a:gd name="connsiteY13" fmla="*/ 406292 h 406292"/>
              <a:gd name="connsiteX14" fmla="*/ 38010 w 316917"/>
              <a:gd name="connsiteY14" fmla="*/ 406292 h 40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917" h="406292">
                <a:moveTo>
                  <a:pt x="38010" y="406292"/>
                </a:moveTo>
                <a:cubicBezTo>
                  <a:pt x="25811" y="406292"/>
                  <a:pt x="14254" y="400257"/>
                  <a:pt x="6934" y="390112"/>
                </a:cubicBezTo>
                <a:cubicBezTo>
                  <a:pt x="2311" y="383820"/>
                  <a:pt x="0" y="376244"/>
                  <a:pt x="0" y="368154"/>
                </a:cubicBezTo>
                <a:cubicBezTo>
                  <a:pt x="0" y="356084"/>
                  <a:pt x="6164" y="344141"/>
                  <a:pt x="16051" y="337079"/>
                </a:cubicBezTo>
                <a:lnTo>
                  <a:pt x="211621" y="203146"/>
                </a:lnTo>
                <a:lnTo>
                  <a:pt x="16308" y="69470"/>
                </a:lnTo>
                <a:cubicBezTo>
                  <a:pt x="-514" y="57271"/>
                  <a:pt x="-4751" y="33644"/>
                  <a:pt x="6677" y="16565"/>
                </a:cubicBezTo>
                <a:cubicBezTo>
                  <a:pt x="14125" y="6035"/>
                  <a:pt x="25939" y="0"/>
                  <a:pt x="38266" y="0"/>
                </a:cubicBezTo>
                <a:cubicBezTo>
                  <a:pt x="46099" y="0"/>
                  <a:pt x="53676" y="2440"/>
                  <a:pt x="59968" y="6934"/>
                </a:cubicBezTo>
                <a:lnTo>
                  <a:pt x="300610" y="171814"/>
                </a:lnTo>
                <a:cubicBezTo>
                  <a:pt x="310497" y="178106"/>
                  <a:pt x="316918" y="190177"/>
                  <a:pt x="316918" y="203146"/>
                </a:cubicBezTo>
                <a:cubicBezTo>
                  <a:pt x="316918" y="216116"/>
                  <a:pt x="310497" y="228186"/>
                  <a:pt x="300224" y="234735"/>
                </a:cubicBezTo>
                <a:lnTo>
                  <a:pt x="59711" y="399486"/>
                </a:lnTo>
                <a:cubicBezTo>
                  <a:pt x="53162" y="403981"/>
                  <a:pt x="45714" y="406292"/>
                  <a:pt x="38010" y="406292"/>
                </a:cubicBezTo>
                <a:cubicBezTo>
                  <a:pt x="38010" y="406292"/>
                  <a:pt x="38010" y="406292"/>
                  <a:pt x="38010" y="406292"/>
                </a:cubicBezTo>
                <a:close/>
              </a:path>
            </a:pathLst>
          </a:custGeom>
          <a:solidFill>
            <a:srgbClr val="000000"/>
          </a:solidFill>
          <a:ln w="12573" cap="flat">
            <a:noFill/>
            <a:prstDash val="solid"/>
            <a:miter/>
          </a:ln>
        </p:spPr>
        <p:txBody>
          <a:bodyPr rtlCol="0" anchor="ctr"/>
          <a:lstStyle/>
          <a:p>
            <a:endParaRPr lang="de-DE"/>
          </a:p>
        </p:txBody>
      </p:sp>
      <p:sp>
        <p:nvSpPr>
          <p:cNvPr id="58" name="Grafik 65">
            <a:extLst>
              <a:ext uri="{FF2B5EF4-FFF2-40B4-BE49-F238E27FC236}">
                <a16:creationId xmlns:a16="http://schemas.microsoft.com/office/drawing/2014/main" id="{515EF17A-D882-4AD5-9FF3-E7FC76D7E187}"/>
              </a:ext>
            </a:extLst>
          </p:cNvPr>
          <p:cNvSpPr/>
          <p:nvPr>
            <p:custDataLst>
              <p:tags r:id="rId17"/>
            </p:custDataLst>
          </p:nvPr>
        </p:nvSpPr>
        <p:spPr>
          <a:xfrm rot="16200000" flipH="1" flipV="1">
            <a:off x="3515405" y="2492833"/>
            <a:ext cx="199100" cy="255250"/>
          </a:xfrm>
          <a:custGeom>
            <a:avLst/>
            <a:gdLst>
              <a:gd name="connsiteX0" fmla="*/ 38010 w 316917"/>
              <a:gd name="connsiteY0" fmla="*/ 406292 h 406292"/>
              <a:gd name="connsiteX1" fmla="*/ 6934 w 316917"/>
              <a:gd name="connsiteY1" fmla="*/ 390112 h 406292"/>
              <a:gd name="connsiteX2" fmla="*/ 0 w 316917"/>
              <a:gd name="connsiteY2" fmla="*/ 368154 h 406292"/>
              <a:gd name="connsiteX3" fmla="*/ 16051 w 316917"/>
              <a:gd name="connsiteY3" fmla="*/ 337079 h 406292"/>
              <a:gd name="connsiteX4" fmla="*/ 211621 w 316917"/>
              <a:gd name="connsiteY4" fmla="*/ 203146 h 406292"/>
              <a:gd name="connsiteX5" fmla="*/ 16308 w 316917"/>
              <a:gd name="connsiteY5" fmla="*/ 69470 h 406292"/>
              <a:gd name="connsiteX6" fmla="*/ 6677 w 316917"/>
              <a:gd name="connsiteY6" fmla="*/ 16565 h 406292"/>
              <a:gd name="connsiteX7" fmla="*/ 38266 w 316917"/>
              <a:gd name="connsiteY7" fmla="*/ 0 h 406292"/>
              <a:gd name="connsiteX8" fmla="*/ 59968 w 316917"/>
              <a:gd name="connsiteY8" fmla="*/ 6934 h 406292"/>
              <a:gd name="connsiteX9" fmla="*/ 300610 w 316917"/>
              <a:gd name="connsiteY9" fmla="*/ 171814 h 406292"/>
              <a:gd name="connsiteX10" fmla="*/ 316918 w 316917"/>
              <a:gd name="connsiteY10" fmla="*/ 203146 h 406292"/>
              <a:gd name="connsiteX11" fmla="*/ 300224 w 316917"/>
              <a:gd name="connsiteY11" fmla="*/ 234735 h 406292"/>
              <a:gd name="connsiteX12" fmla="*/ 59711 w 316917"/>
              <a:gd name="connsiteY12" fmla="*/ 399486 h 406292"/>
              <a:gd name="connsiteX13" fmla="*/ 38010 w 316917"/>
              <a:gd name="connsiteY13" fmla="*/ 406292 h 406292"/>
              <a:gd name="connsiteX14" fmla="*/ 38010 w 316917"/>
              <a:gd name="connsiteY14" fmla="*/ 406292 h 40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917" h="406292">
                <a:moveTo>
                  <a:pt x="38010" y="406292"/>
                </a:moveTo>
                <a:cubicBezTo>
                  <a:pt x="25811" y="406292"/>
                  <a:pt x="14254" y="400257"/>
                  <a:pt x="6934" y="390112"/>
                </a:cubicBezTo>
                <a:cubicBezTo>
                  <a:pt x="2311" y="383820"/>
                  <a:pt x="0" y="376244"/>
                  <a:pt x="0" y="368154"/>
                </a:cubicBezTo>
                <a:cubicBezTo>
                  <a:pt x="0" y="356084"/>
                  <a:pt x="6164" y="344141"/>
                  <a:pt x="16051" y="337079"/>
                </a:cubicBezTo>
                <a:lnTo>
                  <a:pt x="211621" y="203146"/>
                </a:lnTo>
                <a:lnTo>
                  <a:pt x="16308" y="69470"/>
                </a:lnTo>
                <a:cubicBezTo>
                  <a:pt x="-514" y="57271"/>
                  <a:pt x="-4751" y="33644"/>
                  <a:pt x="6677" y="16565"/>
                </a:cubicBezTo>
                <a:cubicBezTo>
                  <a:pt x="14125" y="6035"/>
                  <a:pt x="25939" y="0"/>
                  <a:pt x="38266" y="0"/>
                </a:cubicBezTo>
                <a:cubicBezTo>
                  <a:pt x="46099" y="0"/>
                  <a:pt x="53676" y="2440"/>
                  <a:pt x="59968" y="6934"/>
                </a:cubicBezTo>
                <a:lnTo>
                  <a:pt x="300610" y="171814"/>
                </a:lnTo>
                <a:cubicBezTo>
                  <a:pt x="310497" y="178106"/>
                  <a:pt x="316918" y="190177"/>
                  <a:pt x="316918" y="203146"/>
                </a:cubicBezTo>
                <a:cubicBezTo>
                  <a:pt x="316918" y="216116"/>
                  <a:pt x="310497" y="228186"/>
                  <a:pt x="300224" y="234735"/>
                </a:cubicBezTo>
                <a:lnTo>
                  <a:pt x="59711" y="399486"/>
                </a:lnTo>
                <a:cubicBezTo>
                  <a:pt x="53162" y="403981"/>
                  <a:pt x="45714" y="406292"/>
                  <a:pt x="38010" y="406292"/>
                </a:cubicBezTo>
                <a:cubicBezTo>
                  <a:pt x="38010" y="406292"/>
                  <a:pt x="38010" y="406292"/>
                  <a:pt x="38010" y="406292"/>
                </a:cubicBezTo>
                <a:close/>
              </a:path>
            </a:pathLst>
          </a:custGeom>
          <a:solidFill>
            <a:srgbClr val="000000"/>
          </a:solidFill>
          <a:ln w="12573" cap="flat">
            <a:noFill/>
            <a:prstDash val="solid"/>
            <a:miter/>
          </a:ln>
        </p:spPr>
        <p:txBody>
          <a:bodyPr rtlCol="0" anchor="ctr"/>
          <a:lstStyle/>
          <a:p>
            <a:endParaRPr lang="de-DE"/>
          </a:p>
        </p:txBody>
      </p:sp>
      <p:sp>
        <p:nvSpPr>
          <p:cNvPr id="7" name="Foliennummernplatzhalter 6">
            <a:extLst>
              <a:ext uri="{FF2B5EF4-FFF2-40B4-BE49-F238E27FC236}">
                <a16:creationId xmlns:a16="http://schemas.microsoft.com/office/drawing/2014/main" id="{EC8B80CF-3A99-45ED-B1CC-97BA01D990EE}"/>
              </a:ext>
            </a:extLst>
          </p:cNvPr>
          <p:cNvSpPr>
            <a:spLocks noGrp="1"/>
          </p:cNvSpPr>
          <p:nvPr>
            <p:ph type="sldNum" sz="quarter" idx="12"/>
          </p:nvPr>
        </p:nvSpPr>
        <p:spPr/>
        <p:txBody>
          <a:bodyPr/>
          <a:lstStyle/>
          <a:p>
            <a:fld id="{8FF9B0DE-3FEB-4AA0-B465-B80EF7C1333D}" type="slidenum">
              <a:rPr lang="en-GB" smtClean="0"/>
              <a:t>3</a:t>
            </a:fld>
            <a:endParaRPr lang="en-GB"/>
          </a:p>
        </p:txBody>
      </p:sp>
    </p:spTree>
    <p:extLst>
      <p:ext uri="{BB962C8B-B14F-4D97-AF65-F5344CB8AC3E}">
        <p14:creationId xmlns:p14="http://schemas.microsoft.com/office/powerpoint/2010/main" val="3240827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74AFF62-A607-4087-9B95-D6578319B4E3}"/>
              </a:ext>
            </a:extLst>
          </p:cNvPr>
          <p:cNvPicPr>
            <a:picLocks noChangeAspect="1"/>
          </p:cNvPicPr>
          <p:nvPr/>
        </p:nvPicPr>
        <p:blipFill rotWithShape="1">
          <a:blip r:embed="rId4">
            <a:extLst>
              <a:ext uri="{28A0092B-C50C-407E-A947-70E740481C1C}">
                <a14:useLocalDpi xmlns:a14="http://schemas.microsoft.com/office/drawing/2010/main" val="0"/>
              </a:ext>
            </a:extLst>
          </a:blip>
          <a:srcRect t="21814" r="3471"/>
          <a:stretch/>
        </p:blipFill>
        <p:spPr>
          <a:xfrm>
            <a:off x="-1" y="-52"/>
            <a:ext cx="12192001" cy="6858000"/>
          </a:xfrm>
          <a:prstGeom prst="rect">
            <a:avLst/>
          </a:prstGeom>
        </p:spPr>
      </p:pic>
      <p:grpSp>
        <p:nvGrpSpPr>
          <p:cNvPr id="42" name="Gruppieren 41">
            <a:extLst>
              <a:ext uri="{FF2B5EF4-FFF2-40B4-BE49-F238E27FC236}">
                <a16:creationId xmlns:a16="http://schemas.microsoft.com/office/drawing/2014/main" id="{2A685997-0FAF-4FAF-9A91-C20565D85431}"/>
              </a:ext>
            </a:extLst>
          </p:cNvPr>
          <p:cNvGrpSpPr/>
          <p:nvPr/>
        </p:nvGrpSpPr>
        <p:grpSpPr bwMode="gray">
          <a:xfrm>
            <a:off x="0" y="-52"/>
            <a:ext cx="12192000" cy="6858000"/>
            <a:chOff x="0" y="-18662"/>
            <a:chExt cx="12192000" cy="6858000"/>
          </a:xfrm>
        </p:grpSpPr>
        <p:sp>
          <p:nvSpPr>
            <p:cNvPr id="32" name="Rechteck 31">
              <a:extLst>
                <a:ext uri="{FF2B5EF4-FFF2-40B4-BE49-F238E27FC236}">
                  <a16:creationId xmlns:a16="http://schemas.microsoft.com/office/drawing/2014/main" id="{B386EB27-3F43-444A-AFEF-CABD22922AC7}"/>
                </a:ext>
              </a:extLst>
            </p:cNvPr>
            <p:cNvSpPr/>
            <p:nvPr/>
          </p:nvSpPr>
          <p:spPr bwMode="gray">
            <a:xfrm>
              <a:off x="0" y="-18662"/>
              <a:ext cx="12192000" cy="6858000"/>
            </a:xfrm>
            <a:prstGeom prst="rect">
              <a:avLst/>
            </a:prstGeom>
            <a:solidFill>
              <a:srgbClr val="3C3C3B">
                <a:alpha val="30196"/>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40" name="Rechteck 39">
              <a:extLst>
                <a:ext uri="{FF2B5EF4-FFF2-40B4-BE49-F238E27FC236}">
                  <a16:creationId xmlns:a16="http://schemas.microsoft.com/office/drawing/2014/main" id="{CB585589-0B0D-42E5-AEDE-946C864AAD2B}"/>
                </a:ext>
              </a:extLst>
            </p:cNvPr>
            <p:cNvSpPr/>
            <p:nvPr/>
          </p:nvSpPr>
          <p:spPr bwMode="gray">
            <a:xfrm>
              <a:off x="0" y="-18662"/>
              <a:ext cx="12192000" cy="1882852"/>
            </a:xfrm>
            <a:prstGeom prst="rect">
              <a:avLst/>
            </a:prstGeom>
            <a:gradFill>
              <a:gsLst>
                <a:gs pos="0">
                  <a:schemeClr val="tx1">
                    <a:alpha val="33000"/>
                  </a:schemeClr>
                </a:gs>
                <a:gs pos="100000">
                  <a:schemeClr val="tx1">
                    <a:alpha val="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41" name="Rechteck 40">
              <a:extLst>
                <a:ext uri="{FF2B5EF4-FFF2-40B4-BE49-F238E27FC236}">
                  <a16:creationId xmlns:a16="http://schemas.microsoft.com/office/drawing/2014/main" id="{650773AA-86E6-43E3-B50D-F91D43A5D785}"/>
                </a:ext>
              </a:extLst>
            </p:cNvPr>
            <p:cNvSpPr/>
            <p:nvPr/>
          </p:nvSpPr>
          <p:spPr bwMode="gray">
            <a:xfrm flipH="1" flipV="1">
              <a:off x="0" y="2197568"/>
              <a:ext cx="12192000" cy="4641770"/>
            </a:xfrm>
            <a:prstGeom prst="rect">
              <a:avLst/>
            </a:prstGeom>
            <a:gradFill>
              <a:gsLst>
                <a:gs pos="0">
                  <a:schemeClr val="tx1">
                    <a:alpha val="49000"/>
                  </a:schemeClr>
                </a:gs>
                <a:gs pos="100000">
                  <a:schemeClr val="tx1">
                    <a:alpha val="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dirty="0">
                <a:solidFill>
                  <a:schemeClr val="tx1"/>
                </a:solidFill>
              </a:endParaRPr>
            </a:p>
          </p:txBody>
        </p:sp>
      </p:grpSp>
      <p:sp>
        <p:nvSpPr>
          <p:cNvPr id="8" name="Titel 7">
            <a:extLst>
              <a:ext uri="{FF2B5EF4-FFF2-40B4-BE49-F238E27FC236}">
                <a16:creationId xmlns:a16="http://schemas.microsoft.com/office/drawing/2014/main" id="{9EE44E05-6C98-4045-8842-6B4CF80B6CDD}"/>
              </a:ext>
            </a:extLst>
          </p:cNvPr>
          <p:cNvSpPr>
            <a:spLocks noGrp="1"/>
          </p:cNvSpPr>
          <p:nvPr>
            <p:ph type="title"/>
          </p:nvPr>
        </p:nvSpPr>
        <p:spPr bwMode="gray">
          <a:xfrm>
            <a:off x="334962" y="333375"/>
            <a:ext cx="8497004" cy="719361"/>
          </a:xfrm>
        </p:spPr>
        <p:txBody>
          <a:bodyPr/>
          <a:lstStyle/>
          <a:p>
            <a:r>
              <a:rPr lang="en-US" dirty="0" err="1">
                <a:solidFill>
                  <a:schemeClr val="bg1"/>
                </a:solidFill>
              </a:rPr>
              <a:t>Un</a:t>
            </a:r>
            <a:r>
              <a:rPr lang="en-US" dirty="0" err="1">
                <a:solidFill>
                  <a:schemeClr val="tx2"/>
                </a:solidFill>
              </a:rPr>
              <a:t>Sustainable</a:t>
            </a:r>
            <a:r>
              <a:rPr lang="en-US" dirty="0">
                <a:solidFill>
                  <a:schemeClr val="bg1"/>
                </a:solidFill>
              </a:rPr>
              <a:t> road charging solution</a:t>
            </a:r>
            <a:r>
              <a:rPr lang="de-DE" dirty="0">
                <a:solidFill>
                  <a:schemeClr val="bg1"/>
                </a:solidFill>
              </a:rPr>
              <a:t>. </a:t>
            </a:r>
            <a:r>
              <a:rPr lang="de-DE" dirty="0" err="1">
                <a:solidFill>
                  <a:schemeClr val="bg1"/>
                </a:solidFill>
              </a:rPr>
              <a:t>Un</a:t>
            </a:r>
            <a:r>
              <a:rPr lang="de-DE" dirty="0" err="1">
                <a:solidFill>
                  <a:schemeClr val="tx2"/>
                </a:solidFill>
              </a:rPr>
              <a:t>Used</a:t>
            </a:r>
            <a:r>
              <a:rPr lang="de-DE" dirty="0">
                <a:solidFill>
                  <a:schemeClr val="bg1"/>
                </a:solidFill>
              </a:rPr>
              <a:t> </a:t>
            </a:r>
            <a:r>
              <a:rPr lang="de-DE" dirty="0" err="1">
                <a:solidFill>
                  <a:schemeClr val="bg1"/>
                </a:solidFill>
              </a:rPr>
              <a:t>chances</a:t>
            </a:r>
            <a:r>
              <a:rPr lang="de-DE" dirty="0">
                <a:solidFill>
                  <a:schemeClr val="bg1"/>
                </a:solidFill>
              </a:rPr>
              <a:t>.</a:t>
            </a:r>
          </a:p>
        </p:txBody>
      </p:sp>
      <p:sp>
        <p:nvSpPr>
          <p:cNvPr id="2" name="Fußzeilenplatzhalter 1">
            <a:extLst>
              <a:ext uri="{FF2B5EF4-FFF2-40B4-BE49-F238E27FC236}">
                <a16:creationId xmlns:a16="http://schemas.microsoft.com/office/drawing/2014/main" id="{FF44F1FB-D7C5-438E-B9BF-4F21A80DB838}"/>
              </a:ext>
            </a:extLst>
          </p:cNvPr>
          <p:cNvSpPr>
            <a:spLocks noGrp="1"/>
          </p:cNvSpPr>
          <p:nvPr>
            <p:ph type="ftr" sz="quarter" idx="11"/>
          </p:nvPr>
        </p:nvSpPr>
        <p:spPr bwMode="gray"/>
        <p:txBody>
          <a:bodyPr/>
          <a:lstStyle/>
          <a:p>
            <a:r>
              <a:rPr lang="de-DE">
                <a:solidFill>
                  <a:schemeClr val="bg1"/>
                </a:solidFill>
              </a:rPr>
              <a:t>Green Gantry</a:t>
            </a:r>
          </a:p>
        </p:txBody>
      </p:sp>
      <p:sp>
        <p:nvSpPr>
          <p:cNvPr id="3" name="Foliennummernplatzhalter 2">
            <a:extLst>
              <a:ext uri="{FF2B5EF4-FFF2-40B4-BE49-F238E27FC236}">
                <a16:creationId xmlns:a16="http://schemas.microsoft.com/office/drawing/2014/main" id="{79B58E8F-DE32-4CC9-B948-E24A90B0BD3B}"/>
              </a:ext>
            </a:extLst>
          </p:cNvPr>
          <p:cNvSpPr>
            <a:spLocks noGrp="1"/>
          </p:cNvSpPr>
          <p:nvPr>
            <p:ph type="sldNum" sz="quarter" idx="12"/>
          </p:nvPr>
        </p:nvSpPr>
        <p:spPr bwMode="gray"/>
        <p:txBody>
          <a:bodyPr/>
          <a:lstStyle/>
          <a:p>
            <a:fld id="{8FF9B0DE-3FEB-4AA0-B465-B80EF7C1333D}" type="slidenum">
              <a:rPr lang="de-DE" smtClean="0">
                <a:solidFill>
                  <a:schemeClr val="bg1"/>
                </a:solidFill>
              </a:rPr>
              <a:t>4</a:t>
            </a:fld>
            <a:endParaRPr lang="de-DE">
              <a:solidFill>
                <a:schemeClr val="bg1"/>
              </a:solidFill>
            </a:endParaRPr>
          </a:p>
        </p:txBody>
      </p:sp>
      <p:sp>
        <p:nvSpPr>
          <p:cNvPr id="9" name="Textplatzhalter 8">
            <a:extLst>
              <a:ext uri="{FF2B5EF4-FFF2-40B4-BE49-F238E27FC236}">
                <a16:creationId xmlns:a16="http://schemas.microsoft.com/office/drawing/2014/main" id="{C49F0105-DE70-4AE5-B59F-9241C9B69758}"/>
              </a:ext>
            </a:extLst>
          </p:cNvPr>
          <p:cNvSpPr>
            <a:spLocks noGrp="1"/>
          </p:cNvSpPr>
          <p:nvPr>
            <p:ph type="body" sz="quarter" idx="14"/>
          </p:nvPr>
        </p:nvSpPr>
        <p:spPr bwMode="gray"/>
        <p:txBody>
          <a:bodyPr/>
          <a:lstStyle/>
          <a:p>
            <a:r>
              <a:rPr lang="de-DE" dirty="0" err="1">
                <a:solidFill>
                  <a:schemeClr val="bg1"/>
                </a:solidFill>
              </a:rPr>
              <a:t>Enable</a:t>
            </a:r>
            <a:r>
              <a:rPr lang="de-DE" dirty="0">
                <a:solidFill>
                  <a:schemeClr val="bg1"/>
                </a:solidFill>
              </a:rPr>
              <a:t> </a:t>
            </a:r>
            <a:r>
              <a:rPr lang="de-DE" b="1" dirty="0" err="1">
                <a:solidFill>
                  <a:schemeClr val="tx2"/>
                </a:solidFill>
              </a:rPr>
              <a:t>your</a:t>
            </a:r>
            <a:r>
              <a:rPr lang="de-DE" dirty="0">
                <a:solidFill>
                  <a:schemeClr val="bg1"/>
                </a:solidFill>
              </a:rPr>
              <a:t> </a:t>
            </a:r>
            <a:r>
              <a:rPr lang="de-DE" dirty="0" err="1">
                <a:solidFill>
                  <a:schemeClr val="bg1"/>
                </a:solidFill>
              </a:rPr>
              <a:t>contribution</a:t>
            </a:r>
            <a:r>
              <a:rPr lang="de-DE" dirty="0">
                <a:solidFill>
                  <a:schemeClr val="bg1"/>
                </a:solidFill>
              </a:rPr>
              <a:t> </a:t>
            </a:r>
            <a:r>
              <a:rPr lang="de-DE" dirty="0" err="1">
                <a:solidFill>
                  <a:schemeClr val="bg1"/>
                </a:solidFill>
              </a:rPr>
              <a:t>to</a:t>
            </a:r>
            <a:r>
              <a:rPr lang="de-DE" dirty="0">
                <a:solidFill>
                  <a:schemeClr val="bg1"/>
                </a:solidFill>
              </a:rPr>
              <a:t> a </a:t>
            </a:r>
            <a:r>
              <a:rPr lang="de-DE" dirty="0" err="1">
                <a:solidFill>
                  <a:schemeClr val="bg1"/>
                </a:solidFill>
              </a:rPr>
              <a:t>healthy</a:t>
            </a:r>
            <a:r>
              <a:rPr lang="de-DE" dirty="0">
                <a:solidFill>
                  <a:schemeClr val="bg1"/>
                </a:solidFill>
              </a:rPr>
              <a:t> </a:t>
            </a:r>
            <a:r>
              <a:rPr lang="de-DE" dirty="0" err="1">
                <a:solidFill>
                  <a:schemeClr val="bg1"/>
                </a:solidFill>
              </a:rPr>
              <a:t>environment</a:t>
            </a:r>
            <a:r>
              <a:rPr lang="de-DE" dirty="0">
                <a:solidFill>
                  <a:schemeClr val="bg1"/>
                </a:solidFill>
              </a:rPr>
              <a:t>.  </a:t>
            </a:r>
          </a:p>
          <a:p>
            <a:endParaRPr lang="de-DE" dirty="0">
              <a:solidFill>
                <a:schemeClr val="bg1"/>
              </a:solidFill>
            </a:endParaRPr>
          </a:p>
        </p:txBody>
      </p:sp>
      <p:sp>
        <p:nvSpPr>
          <p:cNvPr id="12" name="Inhaltsplatzhalter 2">
            <a:extLst>
              <a:ext uri="{FF2B5EF4-FFF2-40B4-BE49-F238E27FC236}">
                <a16:creationId xmlns:a16="http://schemas.microsoft.com/office/drawing/2014/main" id="{33318376-A6F5-4301-AF45-C28A5EFE439E}"/>
              </a:ext>
            </a:extLst>
          </p:cNvPr>
          <p:cNvSpPr txBox="1">
            <a:spLocks/>
          </p:cNvSpPr>
          <p:nvPr/>
        </p:nvSpPr>
        <p:spPr bwMode="gray">
          <a:xfrm>
            <a:off x="1009158" y="4949322"/>
            <a:ext cx="2965075" cy="1304460"/>
          </a:xfrm>
          <a:prstGeom prst="rect">
            <a:avLst/>
          </a:prstGeom>
        </p:spPr>
        <p:txBody>
          <a:bodyPr wrap="square" lIns="0" tIns="0" rIns="0" bIns="0">
            <a:sp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r>
              <a:rPr lang="de-DE" sz="2400" b="1" i="1" dirty="0" err="1">
                <a:solidFill>
                  <a:schemeClr val="bg1"/>
                </a:solidFill>
              </a:rPr>
              <a:t>Procurement</a:t>
            </a:r>
            <a:r>
              <a:rPr lang="de-DE" sz="2400" b="1" i="1" dirty="0">
                <a:solidFill>
                  <a:schemeClr val="bg1"/>
                </a:solidFill>
              </a:rPr>
              <a:t>.</a:t>
            </a:r>
          </a:p>
          <a:p>
            <a:pPr marL="0" lvl="2" indent="0">
              <a:buNone/>
              <a:defRPr/>
            </a:pPr>
            <a:r>
              <a:rPr lang="en-US" sz="1600" dirty="0">
                <a:solidFill>
                  <a:schemeClr val="bg1"/>
                </a:solidFill>
              </a:rPr>
              <a:t>Procurement requirements must allow or even require explicitly sustainable materials. </a:t>
            </a:r>
            <a:endParaRPr lang="de-DE" sz="1600" dirty="0">
              <a:solidFill>
                <a:schemeClr val="bg1"/>
              </a:solidFill>
            </a:endParaRPr>
          </a:p>
        </p:txBody>
      </p:sp>
      <p:sp>
        <p:nvSpPr>
          <p:cNvPr id="13" name="Inhaltsplatzhalter 3">
            <a:extLst>
              <a:ext uri="{FF2B5EF4-FFF2-40B4-BE49-F238E27FC236}">
                <a16:creationId xmlns:a16="http://schemas.microsoft.com/office/drawing/2014/main" id="{D3C76046-453C-474F-9819-880393D66709}"/>
              </a:ext>
            </a:extLst>
          </p:cNvPr>
          <p:cNvSpPr txBox="1">
            <a:spLocks/>
          </p:cNvSpPr>
          <p:nvPr/>
        </p:nvSpPr>
        <p:spPr bwMode="gray">
          <a:xfrm>
            <a:off x="4729995" y="4949322"/>
            <a:ext cx="2732010" cy="1646156"/>
          </a:xfrm>
          <a:prstGeom prst="rect">
            <a:avLst/>
          </a:prstGeom>
        </p:spPr>
        <p:txBody>
          <a:bodyPr wrap="square" lIns="0" tIns="0" rIns="0" bIns="0">
            <a:spAutoFit/>
          </a:bodyPr>
          <a:lstStyle>
            <a:defPPr>
              <a:defRPr lang="de-DE"/>
            </a:defPPr>
            <a:lvl1pPr indent="0">
              <a:lnSpc>
                <a:spcPct val="110000"/>
              </a:lnSpc>
              <a:spcBef>
                <a:spcPts val="600"/>
              </a:spcBef>
              <a:spcAft>
                <a:spcPts val="200"/>
              </a:spcAft>
              <a:buFont typeface="Arial" panose="020B0604020202020204" pitchFamily="34" charset="0"/>
              <a:buNone/>
              <a:defRPr sz="2000" b="1" i="1">
                <a:solidFill>
                  <a:schemeClr val="bg1"/>
                </a:solidFill>
              </a:defRPr>
            </a:lvl1pPr>
            <a:lvl2pPr marL="0" indent="0">
              <a:lnSpc>
                <a:spcPct val="110000"/>
              </a:lnSpc>
              <a:spcBef>
                <a:spcPts val="1200"/>
              </a:spcBef>
              <a:spcAft>
                <a:spcPts val="200"/>
              </a:spcAft>
              <a:buFont typeface="Arial" panose="020B0604020202020204" pitchFamily="34" charset="0"/>
              <a:buNone/>
              <a:defRPr sz="1400" b="1" i="1"/>
            </a:lvl2pPr>
            <a:lvl3pPr marL="0" lvl="2" indent="0">
              <a:lnSpc>
                <a:spcPct val="110000"/>
              </a:lnSpc>
              <a:spcBef>
                <a:spcPts val="600"/>
              </a:spcBef>
              <a:spcAft>
                <a:spcPts val="200"/>
              </a:spcAft>
              <a:buClr>
                <a:schemeClr val="tx2"/>
              </a:buClr>
              <a:buFont typeface="Wingdings 2" panose="05020102010507070707" pitchFamily="18" charset="2"/>
              <a:buNone/>
              <a:defRPr sz="1400">
                <a:solidFill>
                  <a:schemeClr val="bg1"/>
                </a:solidFill>
              </a:defRPr>
            </a:lvl3pPr>
            <a:lvl4pPr marL="360000" indent="-180000">
              <a:lnSpc>
                <a:spcPct val="110000"/>
              </a:lnSpc>
              <a:spcBef>
                <a:spcPts val="200"/>
              </a:spcBef>
              <a:spcAft>
                <a:spcPts val="200"/>
              </a:spcAft>
              <a:buClr>
                <a:srgbClr val="706F6F"/>
              </a:buClr>
              <a:buFont typeface="Wingdings 2" panose="05020102010507070707" pitchFamily="18" charset="2"/>
              <a:buChar char=""/>
              <a:defRPr sz="1400"/>
            </a:lvl4pPr>
            <a:lvl5pPr marL="540000" indent="-180000">
              <a:lnSpc>
                <a:spcPct val="110000"/>
              </a:lnSpc>
              <a:spcBef>
                <a:spcPts val="200"/>
              </a:spcBef>
              <a:spcAft>
                <a:spcPts val="200"/>
              </a:spcAft>
              <a:buClr>
                <a:srgbClr val="9D9D9C"/>
              </a:buClr>
              <a:buFont typeface="Wingdings 2" panose="05020102010507070707" pitchFamily="18" charset="2"/>
              <a:buChar char=""/>
              <a:defRPr sz="1200"/>
            </a:lvl5pPr>
            <a:lvl6pPr marL="720000" indent="-180000">
              <a:lnSpc>
                <a:spcPct val="110000"/>
              </a:lnSpc>
              <a:spcBef>
                <a:spcPts val="200"/>
              </a:spcBef>
              <a:spcAft>
                <a:spcPts val="200"/>
              </a:spcAft>
              <a:buClr>
                <a:srgbClr val="C6C6C6"/>
              </a:buClr>
              <a:buFont typeface="Wingdings 2" panose="05020102010507070707" pitchFamily="18" charset="2"/>
              <a:buChar char=""/>
              <a:defRPr sz="1200"/>
            </a:lvl6pPr>
            <a:lvl7pPr marL="900000" indent="-180000">
              <a:lnSpc>
                <a:spcPct val="110000"/>
              </a:lnSpc>
              <a:spcBef>
                <a:spcPts val="200"/>
              </a:spcBef>
              <a:spcAft>
                <a:spcPts val="200"/>
              </a:spcAft>
              <a:buClr>
                <a:srgbClr val="706F6F"/>
              </a:buClr>
              <a:buFont typeface="Symbol" panose="05050102010706020507" pitchFamily="18" charset="2"/>
              <a:buChar char="-"/>
              <a:defRPr sz="1100"/>
            </a:lvl7pPr>
            <a:lvl8pPr marL="900000" indent="-180000">
              <a:lnSpc>
                <a:spcPct val="110000"/>
              </a:lnSpc>
              <a:spcBef>
                <a:spcPts val="200"/>
              </a:spcBef>
              <a:spcAft>
                <a:spcPts val="200"/>
              </a:spcAft>
              <a:buClr>
                <a:srgbClr val="706F6F"/>
              </a:buClr>
              <a:buFont typeface="Symbol" panose="05050102010706020507" pitchFamily="18" charset="2"/>
              <a:buChar char="-"/>
              <a:defRPr sz="1100"/>
            </a:lvl8pPr>
            <a:lvl9pPr marL="900000" indent="-180000">
              <a:lnSpc>
                <a:spcPct val="110000"/>
              </a:lnSpc>
              <a:spcBef>
                <a:spcPts val="200"/>
              </a:spcBef>
              <a:spcAft>
                <a:spcPts val="200"/>
              </a:spcAft>
              <a:buClr>
                <a:srgbClr val="706F6F"/>
              </a:buClr>
              <a:buFont typeface="Symbol" panose="05050102010706020507" pitchFamily="18" charset="2"/>
              <a:buChar char="-"/>
              <a:defRPr sz="1100"/>
            </a:lvl9pPr>
          </a:lstStyle>
          <a:p>
            <a:r>
              <a:rPr lang="de-DE" sz="2400" dirty="0"/>
              <a:t>Tender.</a:t>
            </a:r>
          </a:p>
          <a:p>
            <a:r>
              <a:rPr lang="de-DE" sz="1600" b="0" i="0" dirty="0" err="1"/>
              <a:t>Establish</a:t>
            </a:r>
            <a:r>
              <a:rPr lang="de-DE" sz="1600" b="0" i="0" dirty="0"/>
              <a:t> </a:t>
            </a:r>
            <a:r>
              <a:rPr lang="de-DE" sz="1600" b="0" i="0" dirty="0" err="1"/>
              <a:t>evaluation</a:t>
            </a:r>
            <a:r>
              <a:rPr lang="de-DE" sz="1600" b="0" i="0" dirty="0"/>
              <a:t> </a:t>
            </a:r>
            <a:r>
              <a:rPr lang="de-DE" sz="1600" b="0" i="0" dirty="0" err="1"/>
              <a:t>indicators</a:t>
            </a:r>
            <a:r>
              <a:rPr lang="de-DE" sz="1600" b="0" i="0" dirty="0"/>
              <a:t> </a:t>
            </a:r>
            <a:r>
              <a:rPr lang="de-DE" sz="1600" b="0" i="0" dirty="0" err="1"/>
              <a:t>to</a:t>
            </a:r>
            <a:r>
              <a:rPr lang="de-DE" sz="1600" b="0" i="0" dirty="0"/>
              <a:t> </a:t>
            </a:r>
            <a:r>
              <a:rPr lang="de-DE" sz="1600" b="0" i="0" dirty="0" err="1"/>
              <a:t>give</a:t>
            </a:r>
            <a:r>
              <a:rPr lang="de-DE" sz="1600" b="0" i="0" dirty="0"/>
              <a:t> </a:t>
            </a:r>
            <a:r>
              <a:rPr lang="de-DE" sz="1600" b="0" i="0" dirty="0" err="1"/>
              <a:t>preference</a:t>
            </a:r>
            <a:r>
              <a:rPr lang="de-DE" sz="1600" b="0" i="0" dirty="0"/>
              <a:t> </a:t>
            </a:r>
            <a:r>
              <a:rPr lang="de-DE" sz="1600" b="0" i="0" dirty="0" err="1"/>
              <a:t>to</a:t>
            </a:r>
            <a:r>
              <a:rPr lang="de-DE" sz="1600" b="0" i="0" dirty="0"/>
              <a:t> </a:t>
            </a:r>
            <a:r>
              <a:rPr lang="de-DE" sz="1600" b="0" i="0" dirty="0" err="1"/>
              <a:t>sustainable</a:t>
            </a:r>
            <a:r>
              <a:rPr lang="de-DE" sz="1600" b="0" i="0" dirty="0"/>
              <a:t> </a:t>
            </a:r>
            <a:r>
              <a:rPr lang="de-DE" sz="1600" b="0" i="0" dirty="0" err="1"/>
              <a:t>concepts</a:t>
            </a:r>
            <a:r>
              <a:rPr lang="de-DE" sz="1600" b="0" i="0" dirty="0"/>
              <a:t>.</a:t>
            </a:r>
          </a:p>
          <a:p>
            <a:pPr lvl="2"/>
            <a:endParaRPr lang="de-DE" dirty="0"/>
          </a:p>
        </p:txBody>
      </p:sp>
      <p:sp>
        <p:nvSpPr>
          <p:cNvPr id="14" name="Inhaltsplatzhalter 6">
            <a:extLst>
              <a:ext uri="{FF2B5EF4-FFF2-40B4-BE49-F238E27FC236}">
                <a16:creationId xmlns:a16="http://schemas.microsoft.com/office/drawing/2014/main" id="{826B0C46-AC7F-4023-81B9-79265FA0EDAD}"/>
              </a:ext>
            </a:extLst>
          </p:cNvPr>
          <p:cNvSpPr txBox="1">
            <a:spLocks/>
          </p:cNvSpPr>
          <p:nvPr/>
        </p:nvSpPr>
        <p:spPr bwMode="gray">
          <a:xfrm>
            <a:off x="8217767" y="4979987"/>
            <a:ext cx="3028287" cy="1304460"/>
          </a:xfrm>
          <a:prstGeom prst="rect">
            <a:avLst/>
          </a:prstGeom>
        </p:spPr>
        <p:txBody>
          <a:bodyPr wrap="square" lIns="0" tIns="0" rIns="0" bIns="0">
            <a:spAutoFit/>
          </a:bodyPr>
          <a:lstStyle>
            <a:lvl1pPr marL="0" indent="0" algn="l" defTabSz="914400" rtl="0" eaLnBrk="1" latinLnBrk="0" hangingPunct="1">
              <a:lnSpc>
                <a:spcPct val="110000"/>
              </a:lnSpc>
              <a:spcBef>
                <a:spcPts val="600"/>
              </a:spcBef>
              <a:spcAft>
                <a:spcPts val="200"/>
              </a:spcAft>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110000"/>
              </a:lnSpc>
              <a:spcBef>
                <a:spcPts val="1200"/>
              </a:spcBef>
              <a:spcAft>
                <a:spcPts val="200"/>
              </a:spcAft>
              <a:buFont typeface="Arial" panose="020B0604020202020204" pitchFamily="34" charset="0"/>
              <a:buNone/>
              <a:defRPr sz="1400" b="1" i="1" kern="1200">
                <a:solidFill>
                  <a:schemeClr val="tx1"/>
                </a:solidFill>
                <a:latin typeface="+mn-lt"/>
                <a:ea typeface="+mn-ea"/>
                <a:cs typeface="+mn-cs"/>
              </a:defRPr>
            </a:lvl2pPr>
            <a:lvl3pPr marL="180000" indent="-180000" algn="l" defTabSz="914400" rtl="0" eaLnBrk="1" latinLnBrk="0" hangingPunct="1">
              <a:lnSpc>
                <a:spcPct val="110000"/>
              </a:lnSpc>
              <a:spcBef>
                <a:spcPts val="600"/>
              </a:spcBef>
              <a:spcAft>
                <a:spcPts val="200"/>
              </a:spcAft>
              <a:buClr>
                <a:schemeClr val="tx2"/>
              </a:buClr>
              <a:buFont typeface="Wingdings 2" panose="05020102010507070707" pitchFamily="18" charset="2"/>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Clr>
                <a:srgbClr val="706F6F"/>
              </a:buClr>
              <a:buFont typeface="Wingdings 2" panose="050201020105070707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Clr>
                <a:srgbClr val="9D9D9C"/>
              </a:buClr>
              <a:buFont typeface="Wingdings 2" panose="05020102010507070707" pitchFamily="18" charset="2"/>
              <a:buChar char=""/>
              <a:defRPr sz="12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Clr>
                <a:srgbClr val="C6C6C6"/>
              </a:buClr>
              <a:buFont typeface="Wingdings 2" panose="05020102010507070707" pitchFamily="18" charset="2"/>
              <a:buChar char=""/>
              <a:defRPr sz="1200" kern="1200">
                <a:solidFill>
                  <a:schemeClr val="tx1"/>
                </a:solidFill>
                <a:latin typeface="+mn-lt"/>
                <a:ea typeface="+mn-ea"/>
                <a:cs typeface="+mn-cs"/>
              </a:defRPr>
            </a:lvl6pPr>
            <a:lvl7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7pPr>
            <a:lvl8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8pPr>
            <a:lvl9pPr marL="900000" indent="-180000" algn="l" defTabSz="914400" rtl="0" eaLnBrk="1" latinLnBrk="0" hangingPunct="1">
              <a:lnSpc>
                <a:spcPct val="110000"/>
              </a:lnSpc>
              <a:spcBef>
                <a:spcPts val="200"/>
              </a:spcBef>
              <a:spcAft>
                <a:spcPts val="200"/>
              </a:spcAft>
              <a:buClr>
                <a:srgbClr val="706F6F"/>
              </a:buClr>
              <a:buFont typeface="Symbol" panose="05050102010706020507" pitchFamily="18" charset="2"/>
              <a:buChar char="-"/>
              <a:defRPr sz="1100" kern="1200">
                <a:solidFill>
                  <a:schemeClr val="tx1"/>
                </a:solidFill>
                <a:latin typeface="+mn-lt"/>
                <a:ea typeface="+mn-ea"/>
                <a:cs typeface="+mn-cs"/>
              </a:defRPr>
            </a:lvl9pPr>
          </a:lstStyle>
          <a:p>
            <a:r>
              <a:rPr lang="de-DE" sz="2400" b="1" i="1" dirty="0">
                <a:solidFill>
                  <a:schemeClr val="bg1"/>
                </a:solidFill>
              </a:rPr>
              <a:t>Award.</a:t>
            </a:r>
          </a:p>
          <a:p>
            <a:r>
              <a:rPr lang="de-DE" sz="1600" dirty="0">
                <a:solidFill>
                  <a:schemeClr val="bg1"/>
                </a:solidFill>
              </a:rPr>
              <a:t>Take </a:t>
            </a:r>
            <a:r>
              <a:rPr lang="de-DE" sz="1600" dirty="0" err="1">
                <a:solidFill>
                  <a:schemeClr val="bg1"/>
                </a:solidFill>
              </a:rPr>
              <a:t>your</a:t>
            </a:r>
            <a:r>
              <a:rPr lang="de-DE" sz="1600" dirty="0">
                <a:solidFill>
                  <a:schemeClr val="bg1"/>
                </a:solidFill>
              </a:rPr>
              <a:t> </a:t>
            </a:r>
            <a:r>
              <a:rPr lang="de-DE" sz="1600" dirty="0" err="1">
                <a:solidFill>
                  <a:schemeClr val="bg1"/>
                </a:solidFill>
              </a:rPr>
              <a:t>responsibility</a:t>
            </a:r>
            <a:r>
              <a:rPr lang="de-DE" sz="1600" dirty="0">
                <a:solidFill>
                  <a:schemeClr val="bg1"/>
                </a:solidFill>
              </a:rPr>
              <a:t> and </a:t>
            </a:r>
            <a:r>
              <a:rPr lang="de-DE" sz="1600" dirty="0" err="1">
                <a:solidFill>
                  <a:schemeClr val="bg1"/>
                </a:solidFill>
              </a:rPr>
              <a:t>select</a:t>
            </a:r>
            <a:r>
              <a:rPr lang="de-DE" sz="1600" dirty="0">
                <a:solidFill>
                  <a:schemeClr val="bg1"/>
                </a:solidFill>
              </a:rPr>
              <a:t> an </a:t>
            </a:r>
            <a:r>
              <a:rPr lang="de-DE" sz="1600" dirty="0" err="1">
                <a:solidFill>
                  <a:schemeClr val="bg1"/>
                </a:solidFill>
              </a:rPr>
              <a:t>environmentally</a:t>
            </a:r>
            <a:r>
              <a:rPr lang="de-DE" sz="1600" dirty="0">
                <a:solidFill>
                  <a:schemeClr val="bg1"/>
                </a:solidFill>
              </a:rPr>
              <a:t> </a:t>
            </a:r>
            <a:r>
              <a:rPr lang="de-DE" sz="1600" dirty="0" err="1">
                <a:solidFill>
                  <a:schemeClr val="bg1"/>
                </a:solidFill>
              </a:rPr>
              <a:t>friendly</a:t>
            </a:r>
            <a:r>
              <a:rPr lang="de-DE" sz="1600" dirty="0">
                <a:solidFill>
                  <a:schemeClr val="bg1"/>
                </a:solidFill>
              </a:rPr>
              <a:t> and </a:t>
            </a:r>
            <a:r>
              <a:rPr lang="de-DE" sz="1600" dirty="0" err="1">
                <a:solidFill>
                  <a:schemeClr val="bg1"/>
                </a:solidFill>
              </a:rPr>
              <a:t>green</a:t>
            </a:r>
            <a:r>
              <a:rPr lang="de-DE" sz="1600" dirty="0">
                <a:solidFill>
                  <a:schemeClr val="bg1"/>
                </a:solidFill>
              </a:rPr>
              <a:t> </a:t>
            </a:r>
            <a:r>
              <a:rPr lang="de-DE" sz="1600" dirty="0" err="1">
                <a:solidFill>
                  <a:schemeClr val="bg1"/>
                </a:solidFill>
              </a:rPr>
              <a:t>solution</a:t>
            </a:r>
            <a:r>
              <a:rPr lang="de-DE" sz="1600" dirty="0">
                <a:solidFill>
                  <a:schemeClr val="bg1"/>
                </a:solidFill>
              </a:rPr>
              <a:t>. </a:t>
            </a:r>
          </a:p>
        </p:txBody>
      </p:sp>
      <p:sp>
        <p:nvSpPr>
          <p:cNvPr id="33" name="Textplatzhalter 45">
            <a:extLst>
              <a:ext uri="{FF2B5EF4-FFF2-40B4-BE49-F238E27FC236}">
                <a16:creationId xmlns:a16="http://schemas.microsoft.com/office/drawing/2014/main" id="{E78E5B27-01F3-420E-8B0A-55337708F150}"/>
              </a:ext>
            </a:extLst>
          </p:cNvPr>
          <p:cNvSpPr txBox="1">
            <a:spLocks/>
          </p:cNvSpPr>
          <p:nvPr/>
        </p:nvSpPr>
        <p:spPr bwMode="gray">
          <a:xfrm>
            <a:off x="11135478" y="-52"/>
            <a:ext cx="7200" cy="4608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34" name="Textplatzhalter 45">
            <a:extLst>
              <a:ext uri="{FF2B5EF4-FFF2-40B4-BE49-F238E27FC236}">
                <a16:creationId xmlns:a16="http://schemas.microsoft.com/office/drawing/2014/main" id="{B062A165-52D4-4ACC-B161-D133FE9EA9B8}"/>
              </a:ext>
            </a:extLst>
          </p:cNvPr>
          <p:cNvSpPr txBox="1">
            <a:spLocks/>
          </p:cNvSpPr>
          <p:nvPr/>
        </p:nvSpPr>
        <p:spPr bwMode="gray">
          <a:xfrm>
            <a:off x="10701432" y="302348"/>
            <a:ext cx="7200" cy="158400"/>
          </a:xfrm>
          <a:prstGeom prst="rect">
            <a:avLst/>
          </a:prstGeom>
          <a:solidFill>
            <a:schemeClr val="tx2"/>
          </a:solid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36" name="Textplatzhalter 45">
            <a:extLst>
              <a:ext uri="{FF2B5EF4-FFF2-40B4-BE49-F238E27FC236}">
                <a16:creationId xmlns:a16="http://schemas.microsoft.com/office/drawing/2014/main" id="{889B96ED-5BF9-4E80-8044-1156177BBA87}"/>
              </a:ext>
            </a:extLst>
          </p:cNvPr>
          <p:cNvSpPr txBox="1">
            <a:spLocks/>
          </p:cNvSpPr>
          <p:nvPr/>
        </p:nvSpPr>
        <p:spPr bwMode="gray">
          <a:xfrm>
            <a:off x="11208568" y="311701"/>
            <a:ext cx="720080" cy="120132"/>
          </a:xfrm>
          <a:prstGeom prst="rect">
            <a:avLst/>
          </a:prstGeo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00" b="0"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Tx/>
              <a:buNone/>
              <a:defRPr sz="1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chemeClr val="bg1">
                  <a:lumMod val="50000"/>
                </a:schemeClr>
              </a:buClr>
              <a:buFontTx/>
              <a:buNone/>
              <a:defRPr sz="100" kern="1200">
                <a:solidFill>
                  <a:schemeClr val="bg1"/>
                </a:solidFill>
                <a:latin typeface="+mn-lt"/>
                <a:ea typeface="+mn-ea"/>
                <a:cs typeface="+mn-cs"/>
              </a:defRPr>
            </a:lvl9pPr>
          </a:lstStyle>
          <a:p>
            <a:r>
              <a:rPr lang="de-DE"/>
              <a:t> </a:t>
            </a:r>
          </a:p>
        </p:txBody>
      </p:sp>
      <p:sp>
        <p:nvSpPr>
          <p:cNvPr id="48" name="Ellipse 47">
            <a:extLst>
              <a:ext uri="{FF2B5EF4-FFF2-40B4-BE49-F238E27FC236}">
                <a16:creationId xmlns:a16="http://schemas.microsoft.com/office/drawing/2014/main" id="{EA4223B3-4DE4-4F27-93C1-0E6D2AB1EB11}"/>
              </a:ext>
            </a:extLst>
          </p:cNvPr>
          <p:cNvSpPr>
            <a:spLocks noChangeAspect="1"/>
          </p:cNvSpPr>
          <p:nvPr/>
        </p:nvSpPr>
        <p:spPr bwMode="gray">
          <a:xfrm flipH="1">
            <a:off x="1533642" y="3630849"/>
            <a:ext cx="1218794" cy="1218794"/>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49" name="Freihandform: Form 48">
            <a:extLst>
              <a:ext uri="{FF2B5EF4-FFF2-40B4-BE49-F238E27FC236}">
                <a16:creationId xmlns:a16="http://schemas.microsoft.com/office/drawing/2014/main" id="{2A4C7AE3-5ECD-4F23-B21A-3F57381BD649}"/>
              </a:ext>
            </a:extLst>
          </p:cNvPr>
          <p:cNvSpPr/>
          <p:nvPr/>
        </p:nvSpPr>
        <p:spPr>
          <a:xfrm>
            <a:off x="1920361" y="4013952"/>
            <a:ext cx="470756" cy="470756"/>
          </a:xfrm>
          <a:custGeom>
            <a:avLst/>
            <a:gdLst>
              <a:gd name="connsiteX0" fmla="*/ 565961 w 565960"/>
              <a:gd name="connsiteY0" fmla="*/ 282980 h 565960"/>
              <a:gd name="connsiteX1" fmla="*/ 282980 w 565960"/>
              <a:gd name="connsiteY1" fmla="*/ 565961 h 565960"/>
              <a:gd name="connsiteX2" fmla="*/ 0 w 565960"/>
              <a:gd name="connsiteY2" fmla="*/ 282980 h 565960"/>
              <a:gd name="connsiteX3" fmla="*/ 282980 w 565960"/>
              <a:gd name="connsiteY3" fmla="*/ 0 h 565960"/>
              <a:gd name="connsiteX4" fmla="*/ 565961 w 565960"/>
              <a:gd name="connsiteY4" fmla="*/ 282980 h 565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960" h="565960">
                <a:moveTo>
                  <a:pt x="565961" y="282980"/>
                </a:moveTo>
                <a:cubicBezTo>
                  <a:pt x="565961" y="439266"/>
                  <a:pt x="439266" y="565961"/>
                  <a:pt x="282980" y="565961"/>
                </a:cubicBezTo>
                <a:cubicBezTo>
                  <a:pt x="126695" y="565961"/>
                  <a:pt x="0" y="439266"/>
                  <a:pt x="0" y="282980"/>
                </a:cubicBezTo>
                <a:cubicBezTo>
                  <a:pt x="0" y="126695"/>
                  <a:pt x="126695" y="0"/>
                  <a:pt x="282980" y="0"/>
                </a:cubicBezTo>
                <a:cubicBezTo>
                  <a:pt x="439266" y="0"/>
                  <a:pt x="565961" y="126695"/>
                  <a:pt x="565961" y="282980"/>
                </a:cubicBezTo>
                <a:close/>
              </a:path>
            </a:pathLst>
          </a:custGeom>
          <a:solidFill>
            <a:schemeClr val="bg1"/>
          </a:solidFill>
          <a:ln w="5031" cap="flat">
            <a:noFill/>
            <a:prstDash val="solid"/>
            <a:miter/>
          </a:ln>
        </p:spPr>
        <p:txBody>
          <a:bodyPr rtlCol="0" anchor="ctr"/>
          <a:lstStyle/>
          <a:p>
            <a:endParaRPr lang="de-DE" dirty="0">
              <a:highlight>
                <a:srgbClr val="EDEDED"/>
              </a:highlight>
            </a:endParaRPr>
          </a:p>
        </p:txBody>
      </p:sp>
      <p:sp>
        <p:nvSpPr>
          <p:cNvPr id="50" name="Ellipse 49">
            <a:extLst>
              <a:ext uri="{FF2B5EF4-FFF2-40B4-BE49-F238E27FC236}">
                <a16:creationId xmlns:a16="http://schemas.microsoft.com/office/drawing/2014/main" id="{DC0AD4AE-AEF7-4515-BBC9-E318C1696606}"/>
              </a:ext>
            </a:extLst>
          </p:cNvPr>
          <p:cNvSpPr>
            <a:spLocks noChangeAspect="1"/>
          </p:cNvSpPr>
          <p:nvPr/>
        </p:nvSpPr>
        <p:spPr bwMode="gray">
          <a:xfrm flipH="1">
            <a:off x="5365241" y="3624438"/>
            <a:ext cx="1218793" cy="1218793"/>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52" name="Ellipse 51">
            <a:extLst>
              <a:ext uri="{FF2B5EF4-FFF2-40B4-BE49-F238E27FC236}">
                <a16:creationId xmlns:a16="http://schemas.microsoft.com/office/drawing/2014/main" id="{B572B06A-E621-4AA5-AB8E-D91A049C4437}"/>
              </a:ext>
            </a:extLst>
          </p:cNvPr>
          <p:cNvSpPr>
            <a:spLocks noChangeAspect="1"/>
          </p:cNvSpPr>
          <p:nvPr/>
        </p:nvSpPr>
        <p:spPr bwMode="gray">
          <a:xfrm flipH="1">
            <a:off x="8993708" y="3624439"/>
            <a:ext cx="1218792" cy="1218792"/>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400">
              <a:solidFill>
                <a:schemeClr val="tx1"/>
              </a:solidFill>
            </a:endParaRPr>
          </a:p>
        </p:txBody>
      </p:sp>
      <p:sp>
        <p:nvSpPr>
          <p:cNvPr id="54" name="Freihandform: Form 53">
            <a:extLst>
              <a:ext uri="{FF2B5EF4-FFF2-40B4-BE49-F238E27FC236}">
                <a16:creationId xmlns:a16="http://schemas.microsoft.com/office/drawing/2014/main" id="{0BF693EC-7BF0-42FA-B3F3-CAFE236B06BD}"/>
              </a:ext>
            </a:extLst>
          </p:cNvPr>
          <p:cNvSpPr/>
          <p:nvPr/>
        </p:nvSpPr>
        <p:spPr>
          <a:xfrm>
            <a:off x="5739259" y="3987710"/>
            <a:ext cx="470756" cy="470756"/>
          </a:xfrm>
          <a:custGeom>
            <a:avLst/>
            <a:gdLst>
              <a:gd name="connsiteX0" fmla="*/ 565961 w 565960"/>
              <a:gd name="connsiteY0" fmla="*/ 282980 h 565960"/>
              <a:gd name="connsiteX1" fmla="*/ 282980 w 565960"/>
              <a:gd name="connsiteY1" fmla="*/ 565961 h 565960"/>
              <a:gd name="connsiteX2" fmla="*/ 0 w 565960"/>
              <a:gd name="connsiteY2" fmla="*/ 282980 h 565960"/>
              <a:gd name="connsiteX3" fmla="*/ 282980 w 565960"/>
              <a:gd name="connsiteY3" fmla="*/ 0 h 565960"/>
              <a:gd name="connsiteX4" fmla="*/ 565961 w 565960"/>
              <a:gd name="connsiteY4" fmla="*/ 282980 h 565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960" h="565960">
                <a:moveTo>
                  <a:pt x="565961" y="282980"/>
                </a:moveTo>
                <a:cubicBezTo>
                  <a:pt x="565961" y="439266"/>
                  <a:pt x="439266" y="565961"/>
                  <a:pt x="282980" y="565961"/>
                </a:cubicBezTo>
                <a:cubicBezTo>
                  <a:pt x="126695" y="565961"/>
                  <a:pt x="0" y="439266"/>
                  <a:pt x="0" y="282980"/>
                </a:cubicBezTo>
                <a:cubicBezTo>
                  <a:pt x="0" y="126695"/>
                  <a:pt x="126695" y="0"/>
                  <a:pt x="282980" y="0"/>
                </a:cubicBezTo>
                <a:cubicBezTo>
                  <a:pt x="439266" y="0"/>
                  <a:pt x="565961" y="126695"/>
                  <a:pt x="565961" y="282980"/>
                </a:cubicBezTo>
                <a:close/>
              </a:path>
            </a:pathLst>
          </a:custGeom>
          <a:solidFill>
            <a:schemeClr val="bg1"/>
          </a:solidFill>
          <a:ln w="5031" cap="flat">
            <a:noFill/>
            <a:prstDash val="solid"/>
            <a:miter/>
          </a:ln>
        </p:spPr>
        <p:txBody>
          <a:bodyPr rtlCol="0" anchor="ctr"/>
          <a:lstStyle/>
          <a:p>
            <a:endParaRPr lang="de-DE" dirty="0">
              <a:highlight>
                <a:srgbClr val="EDEDED"/>
              </a:highlight>
            </a:endParaRPr>
          </a:p>
        </p:txBody>
      </p:sp>
      <p:sp>
        <p:nvSpPr>
          <p:cNvPr id="55" name="Freihandform: Form 54">
            <a:extLst>
              <a:ext uri="{FF2B5EF4-FFF2-40B4-BE49-F238E27FC236}">
                <a16:creationId xmlns:a16="http://schemas.microsoft.com/office/drawing/2014/main" id="{6B927CA6-9155-4EB1-A70E-46C7728F7910}"/>
              </a:ext>
            </a:extLst>
          </p:cNvPr>
          <p:cNvSpPr/>
          <p:nvPr/>
        </p:nvSpPr>
        <p:spPr>
          <a:xfrm>
            <a:off x="9367726" y="3987710"/>
            <a:ext cx="470756" cy="470756"/>
          </a:xfrm>
          <a:custGeom>
            <a:avLst/>
            <a:gdLst>
              <a:gd name="connsiteX0" fmla="*/ 565961 w 565960"/>
              <a:gd name="connsiteY0" fmla="*/ 282980 h 565960"/>
              <a:gd name="connsiteX1" fmla="*/ 282980 w 565960"/>
              <a:gd name="connsiteY1" fmla="*/ 565961 h 565960"/>
              <a:gd name="connsiteX2" fmla="*/ 0 w 565960"/>
              <a:gd name="connsiteY2" fmla="*/ 282980 h 565960"/>
              <a:gd name="connsiteX3" fmla="*/ 282980 w 565960"/>
              <a:gd name="connsiteY3" fmla="*/ 0 h 565960"/>
              <a:gd name="connsiteX4" fmla="*/ 565961 w 565960"/>
              <a:gd name="connsiteY4" fmla="*/ 282980 h 565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960" h="565960">
                <a:moveTo>
                  <a:pt x="565961" y="282980"/>
                </a:moveTo>
                <a:cubicBezTo>
                  <a:pt x="565961" y="439266"/>
                  <a:pt x="439266" y="565961"/>
                  <a:pt x="282980" y="565961"/>
                </a:cubicBezTo>
                <a:cubicBezTo>
                  <a:pt x="126695" y="565961"/>
                  <a:pt x="0" y="439266"/>
                  <a:pt x="0" y="282980"/>
                </a:cubicBezTo>
                <a:cubicBezTo>
                  <a:pt x="0" y="126695"/>
                  <a:pt x="126695" y="0"/>
                  <a:pt x="282980" y="0"/>
                </a:cubicBezTo>
                <a:cubicBezTo>
                  <a:pt x="439266" y="0"/>
                  <a:pt x="565961" y="126695"/>
                  <a:pt x="565961" y="282980"/>
                </a:cubicBezTo>
                <a:close/>
              </a:path>
            </a:pathLst>
          </a:custGeom>
          <a:solidFill>
            <a:schemeClr val="bg1"/>
          </a:solidFill>
          <a:ln w="5031" cap="flat">
            <a:noFill/>
            <a:prstDash val="solid"/>
            <a:miter/>
          </a:ln>
        </p:spPr>
        <p:txBody>
          <a:bodyPr rtlCol="0" anchor="ctr"/>
          <a:lstStyle/>
          <a:p>
            <a:endParaRPr lang="de-DE" dirty="0">
              <a:highlight>
                <a:srgbClr val="EDEDED"/>
              </a:highlight>
            </a:endParaRPr>
          </a:p>
        </p:txBody>
      </p:sp>
      <p:sp>
        <p:nvSpPr>
          <p:cNvPr id="27" name="Freihandform: Form 26">
            <a:extLst>
              <a:ext uri="{FF2B5EF4-FFF2-40B4-BE49-F238E27FC236}">
                <a16:creationId xmlns:a16="http://schemas.microsoft.com/office/drawing/2014/main" id="{888F59A4-3352-4B92-B5F0-A36F10DA58C3}"/>
              </a:ext>
            </a:extLst>
          </p:cNvPr>
          <p:cNvSpPr/>
          <p:nvPr/>
        </p:nvSpPr>
        <p:spPr>
          <a:xfrm>
            <a:off x="2062687" y="4063792"/>
            <a:ext cx="328430" cy="470755"/>
          </a:xfrm>
          <a:custGeom>
            <a:avLst/>
            <a:gdLst>
              <a:gd name="connsiteX0" fmla="*/ 74028 w 398788"/>
              <a:gd name="connsiteY0" fmla="*/ 34073 h 476315"/>
              <a:gd name="connsiteX1" fmla="*/ 74028 w 398788"/>
              <a:gd name="connsiteY1" fmla="*/ 74231 h 476315"/>
              <a:gd name="connsiteX2" fmla="*/ 33870 w 398788"/>
              <a:gd name="connsiteY2" fmla="*/ 74231 h 476315"/>
              <a:gd name="connsiteX3" fmla="*/ 0 w 398788"/>
              <a:gd name="connsiteY3" fmla="*/ 108304 h 476315"/>
              <a:gd name="connsiteX4" fmla="*/ 0 w 398788"/>
              <a:gd name="connsiteY4" fmla="*/ 442242 h 476315"/>
              <a:gd name="connsiteX5" fmla="*/ 34073 w 398788"/>
              <a:gd name="connsiteY5" fmla="*/ 476316 h 476315"/>
              <a:gd name="connsiteX6" fmla="*/ 290535 w 398788"/>
              <a:gd name="connsiteY6" fmla="*/ 476316 h 476315"/>
              <a:gd name="connsiteX7" fmla="*/ 324608 w 398788"/>
              <a:gd name="connsiteY7" fmla="*/ 442242 h 476315"/>
              <a:gd name="connsiteX8" fmla="*/ 324608 w 398788"/>
              <a:gd name="connsiteY8" fmla="*/ 402085 h 476315"/>
              <a:gd name="connsiteX9" fmla="*/ 364716 w 398788"/>
              <a:gd name="connsiteY9" fmla="*/ 402085 h 476315"/>
              <a:gd name="connsiteX10" fmla="*/ 398789 w 398788"/>
              <a:gd name="connsiteY10" fmla="*/ 368011 h 476315"/>
              <a:gd name="connsiteX11" fmla="*/ 398789 w 398788"/>
              <a:gd name="connsiteY11" fmla="*/ 93042 h 476315"/>
              <a:gd name="connsiteX12" fmla="*/ 394225 w 398788"/>
              <a:gd name="connsiteY12" fmla="*/ 81837 h 476315"/>
              <a:gd name="connsiteX13" fmla="*/ 316952 w 398788"/>
              <a:gd name="connsiteY13" fmla="*/ 4563 h 476315"/>
              <a:gd name="connsiteX14" fmla="*/ 305797 w 398788"/>
              <a:gd name="connsiteY14" fmla="*/ 0 h 476315"/>
              <a:gd name="connsiteX15" fmla="*/ 108051 w 398788"/>
              <a:gd name="connsiteY15" fmla="*/ 0 h 476315"/>
              <a:gd name="connsiteX16" fmla="*/ 74028 w 398788"/>
              <a:gd name="connsiteY16" fmla="*/ 34073 h 476315"/>
              <a:gd name="connsiteX17" fmla="*/ 293577 w 398788"/>
              <a:gd name="connsiteY17" fmla="*/ 445285 h 476315"/>
              <a:gd name="connsiteX18" fmla="*/ 30828 w 398788"/>
              <a:gd name="connsiteY18" fmla="*/ 445285 h 476315"/>
              <a:gd name="connsiteX19" fmla="*/ 30828 w 398788"/>
              <a:gd name="connsiteY19" fmla="*/ 105262 h 476315"/>
              <a:gd name="connsiteX20" fmla="*/ 74028 w 398788"/>
              <a:gd name="connsiteY20" fmla="*/ 105262 h 476315"/>
              <a:gd name="connsiteX21" fmla="*/ 74028 w 398788"/>
              <a:gd name="connsiteY21" fmla="*/ 368011 h 476315"/>
              <a:gd name="connsiteX22" fmla="*/ 108051 w 398788"/>
              <a:gd name="connsiteY22" fmla="*/ 402085 h 476315"/>
              <a:gd name="connsiteX23" fmla="*/ 293577 w 398788"/>
              <a:gd name="connsiteY23" fmla="*/ 402085 h 476315"/>
              <a:gd name="connsiteX24" fmla="*/ 321465 w 398788"/>
              <a:gd name="connsiteY24" fmla="*/ 52885 h 476315"/>
              <a:gd name="connsiteX25" fmla="*/ 345854 w 398788"/>
              <a:gd name="connsiteY25" fmla="*/ 77223 h 476315"/>
              <a:gd name="connsiteX26" fmla="*/ 321465 w 398788"/>
              <a:gd name="connsiteY26" fmla="*/ 77223 h 476315"/>
              <a:gd name="connsiteX27" fmla="*/ 290485 w 398788"/>
              <a:gd name="connsiteY27" fmla="*/ 30930 h 476315"/>
              <a:gd name="connsiteX28" fmla="*/ 290485 w 398788"/>
              <a:gd name="connsiteY28" fmla="*/ 77273 h 476315"/>
              <a:gd name="connsiteX29" fmla="*/ 321414 w 398788"/>
              <a:gd name="connsiteY29" fmla="*/ 108254 h 476315"/>
              <a:gd name="connsiteX30" fmla="*/ 367758 w 398788"/>
              <a:gd name="connsiteY30" fmla="*/ 108254 h 476315"/>
              <a:gd name="connsiteX31" fmla="*/ 367758 w 398788"/>
              <a:gd name="connsiteY31" fmla="*/ 371054 h 476315"/>
              <a:gd name="connsiteX32" fmla="*/ 105008 w 398788"/>
              <a:gd name="connsiteY32" fmla="*/ 371054 h 476315"/>
              <a:gd name="connsiteX33" fmla="*/ 105008 w 398788"/>
              <a:gd name="connsiteY33" fmla="*/ 31031 h 47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8788" h="476315">
                <a:moveTo>
                  <a:pt x="74028" y="34073"/>
                </a:moveTo>
                <a:lnTo>
                  <a:pt x="74028" y="74231"/>
                </a:lnTo>
                <a:lnTo>
                  <a:pt x="33870" y="74231"/>
                </a:lnTo>
                <a:cubicBezTo>
                  <a:pt x="15132" y="74343"/>
                  <a:pt x="-1" y="89565"/>
                  <a:pt x="0" y="108304"/>
                </a:cubicBezTo>
                <a:lnTo>
                  <a:pt x="0" y="442242"/>
                </a:lnTo>
                <a:cubicBezTo>
                  <a:pt x="28" y="461048"/>
                  <a:pt x="15267" y="476285"/>
                  <a:pt x="34073" y="476316"/>
                </a:cubicBezTo>
                <a:lnTo>
                  <a:pt x="290535" y="476316"/>
                </a:lnTo>
                <a:cubicBezTo>
                  <a:pt x="309341" y="476285"/>
                  <a:pt x="324578" y="461048"/>
                  <a:pt x="324608" y="442242"/>
                </a:cubicBezTo>
                <a:lnTo>
                  <a:pt x="324608" y="402085"/>
                </a:lnTo>
                <a:lnTo>
                  <a:pt x="364716" y="402085"/>
                </a:lnTo>
                <a:cubicBezTo>
                  <a:pt x="383532" y="402085"/>
                  <a:pt x="398789" y="386828"/>
                  <a:pt x="398789" y="368011"/>
                </a:cubicBezTo>
                <a:lnTo>
                  <a:pt x="398789" y="93042"/>
                </a:lnTo>
                <a:cubicBezTo>
                  <a:pt x="398789" y="88854"/>
                  <a:pt x="397151" y="84832"/>
                  <a:pt x="394225" y="81837"/>
                </a:cubicBezTo>
                <a:lnTo>
                  <a:pt x="316952" y="4563"/>
                </a:lnTo>
                <a:cubicBezTo>
                  <a:pt x="313966" y="1658"/>
                  <a:pt x="309965" y="22"/>
                  <a:pt x="305797" y="0"/>
                </a:cubicBezTo>
                <a:lnTo>
                  <a:pt x="108051" y="0"/>
                </a:lnTo>
                <a:cubicBezTo>
                  <a:pt x="89264" y="56"/>
                  <a:pt x="74056" y="15286"/>
                  <a:pt x="74028" y="34073"/>
                </a:cubicBezTo>
                <a:close/>
                <a:moveTo>
                  <a:pt x="293577" y="445285"/>
                </a:moveTo>
                <a:lnTo>
                  <a:pt x="30828" y="445285"/>
                </a:lnTo>
                <a:lnTo>
                  <a:pt x="30828" y="105262"/>
                </a:lnTo>
                <a:lnTo>
                  <a:pt x="74028" y="105262"/>
                </a:lnTo>
                <a:lnTo>
                  <a:pt x="74028" y="368011"/>
                </a:lnTo>
                <a:cubicBezTo>
                  <a:pt x="74028" y="386807"/>
                  <a:pt x="89253" y="402054"/>
                  <a:pt x="108051" y="402085"/>
                </a:cubicBezTo>
                <a:lnTo>
                  <a:pt x="293577" y="402085"/>
                </a:lnTo>
                <a:close/>
                <a:moveTo>
                  <a:pt x="321465" y="52885"/>
                </a:moveTo>
                <a:lnTo>
                  <a:pt x="345854" y="77223"/>
                </a:lnTo>
                <a:lnTo>
                  <a:pt x="321465" y="77223"/>
                </a:lnTo>
                <a:close/>
                <a:moveTo>
                  <a:pt x="290485" y="30930"/>
                </a:moveTo>
                <a:lnTo>
                  <a:pt x="290485" y="77273"/>
                </a:lnTo>
                <a:cubicBezTo>
                  <a:pt x="290485" y="94364"/>
                  <a:pt x="304324" y="108226"/>
                  <a:pt x="321414" y="108254"/>
                </a:cubicBezTo>
                <a:lnTo>
                  <a:pt x="367758" y="108254"/>
                </a:lnTo>
                <a:lnTo>
                  <a:pt x="367758" y="371054"/>
                </a:lnTo>
                <a:lnTo>
                  <a:pt x="105008" y="371054"/>
                </a:lnTo>
                <a:lnTo>
                  <a:pt x="105008" y="31031"/>
                </a:lnTo>
                <a:close/>
              </a:path>
            </a:pathLst>
          </a:custGeom>
          <a:solidFill>
            <a:srgbClr val="1D1D1B"/>
          </a:solidFill>
          <a:ln w="5031" cap="flat">
            <a:noFill/>
            <a:prstDash val="solid"/>
            <a:miter/>
          </a:ln>
        </p:spPr>
        <p:txBody>
          <a:bodyPr rtlCol="0" anchor="ctr"/>
          <a:lstStyle/>
          <a:p>
            <a:endParaRPr lang="de-DE" dirty="0"/>
          </a:p>
        </p:txBody>
      </p:sp>
      <p:sp>
        <p:nvSpPr>
          <p:cNvPr id="28" name="Freihandform: Form 27">
            <a:extLst>
              <a:ext uri="{FF2B5EF4-FFF2-40B4-BE49-F238E27FC236}">
                <a16:creationId xmlns:a16="http://schemas.microsoft.com/office/drawing/2014/main" id="{26DC4FEF-0346-42C9-B85F-5A9F2A013B0D}"/>
              </a:ext>
            </a:extLst>
          </p:cNvPr>
          <p:cNvSpPr/>
          <p:nvPr/>
        </p:nvSpPr>
        <p:spPr>
          <a:xfrm>
            <a:off x="9453325" y="4036959"/>
            <a:ext cx="470755" cy="470756"/>
          </a:xfrm>
          <a:custGeom>
            <a:avLst/>
            <a:gdLst>
              <a:gd name="connsiteX0" fmla="*/ 472716 w 472715"/>
              <a:gd name="connsiteY0" fmla="*/ 283656 h 471718"/>
              <a:gd name="connsiteX1" fmla="*/ 427741 w 472715"/>
              <a:gd name="connsiteY1" fmla="*/ 233561 h 471718"/>
              <a:gd name="connsiteX2" fmla="*/ 431392 w 472715"/>
              <a:gd name="connsiteY2" fmla="*/ 214699 h 471718"/>
              <a:gd name="connsiteX3" fmla="*/ 381093 w 472715"/>
              <a:gd name="connsiteY3" fmla="*/ 164400 h 471718"/>
              <a:gd name="connsiteX4" fmla="*/ 316242 w 472715"/>
              <a:gd name="connsiteY4" fmla="*/ 164400 h 471718"/>
              <a:gd name="connsiteX5" fmla="*/ 323848 w 472715"/>
              <a:gd name="connsiteY5" fmla="*/ 85910 h 471718"/>
              <a:gd name="connsiteX6" fmla="*/ 233544 w 472715"/>
              <a:gd name="connsiteY6" fmla="*/ 17 h 471718"/>
              <a:gd name="connsiteX7" fmla="*/ 201448 w 472715"/>
              <a:gd name="connsiteY7" fmla="*/ 18524 h 471718"/>
              <a:gd name="connsiteX8" fmla="*/ 194958 w 472715"/>
              <a:gd name="connsiteY8" fmla="*/ 122924 h 471718"/>
              <a:gd name="connsiteX9" fmla="*/ 139031 w 472715"/>
              <a:gd name="connsiteY9" fmla="*/ 185848 h 471718"/>
              <a:gd name="connsiteX10" fmla="*/ 106479 w 472715"/>
              <a:gd name="connsiteY10" fmla="*/ 215358 h 471718"/>
              <a:gd name="connsiteX11" fmla="*/ 63127 w 472715"/>
              <a:gd name="connsiteY11" fmla="*/ 198068 h 471718"/>
              <a:gd name="connsiteX12" fmla="*/ 15820 w 472715"/>
              <a:gd name="connsiteY12" fmla="*/ 198068 h 471718"/>
              <a:gd name="connsiteX13" fmla="*/ 0 w 472715"/>
              <a:gd name="connsiteY13" fmla="*/ 213938 h 471718"/>
              <a:gd name="connsiteX14" fmla="*/ 0 w 472715"/>
              <a:gd name="connsiteY14" fmla="*/ 435566 h 471718"/>
              <a:gd name="connsiteX15" fmla="*/ 15820 w 472715"/>
              <a:gd name="connsiteY15" fmla="*/ 451437 h 471718"/>
              <a:gd name="connsiteX16" fmla="*/ 63127 w 472715"/>
              <a:gd name="connsiteY16" fmla="*/ 451437 h 471718"/>
              <a:gd name="connsiteX17" fmla="*/ 106377 w 472715"/>
              <a:gd name="connsiteY17" fmla="*/ 434299 h 471718"/>
              <a:gd name="connsiteX18" fmla="*/ 173561 w 472715"/>
              <a:gd name="connsiteY18" fmla="*/ 471718 h 471718"/>
              <a:gd name="connsiteX19" fmla="*/ 372169 w 472715"/>
              <a:gd name="connsiteY19" fmla="*/ 471718 h 471718"/>
              <a:gd name="connsiteX20" fmla="*/ 422468 w 472715"/>
              <a:gd name="connsiteY20" fmla="*/ 421420 h 471718"/>
              <a:gd name="connsiteX21" fmla="*/ 418563 w 472715"/>
              <a:gd name="connsiteY21" fmla="*/ 401899 h 471718"/>
              <a:gd name="connsiteX22" fmla="*/ 459127 w 472715"/>
              <a:gd name="connsiteY22" fmla="*/ 352513 h 471718"/>
              <a:gd name="connsiteX23" fmla="*/ 450913 w 472715"/>
              <a:gd name="connsiteY23" fmla="*/ 324930 h 471718"/>
              <a:gd name="connsiteX24" fmla="*/ 472716 w 472715"/>
              <a:gd name="connsiteY24" fmla="*/ 283656 h 471718"/>
              <a:gd name="connsiteX25" fmla="*/ 94715 w 472715"/>
              <a:gd name="connsiteY25" fmla="*/ 388361 h 471718"/>
              <a:gd name="connsiteX26" fmla="*/ 63228 w 472715"/>
              <a:gd name="connsiteY26" fmla="*/ 419848 h 471718"/>
              <a:gd name="connsiteX27" fmla="*/ 31792 w 472715"/>
              <a:gd name="connsiteY27" fmla="*/ 419848 h 471718"/>
              <a:gd name="connsiteX28" fmla="*/ 31792 w 472715"/>
              <a:gd name="connsiteY28" fmla="*/ 229859 h 471718"/>
              <a:gd name="connsiteX29" fmla="*/ 63228 w 472715"/>
              <a:gd name="connsiteY29" fmla="*/ 229859 h 471718"/>
              <a:gd name="connsiteX30" fmla="*/ 94715 w 472715"/>
              <a:gd name="connsiteY30" fmla="*/ 261346 h 471718"/>
              <a:gd name="connsiteX31" fmla="*/ 319234 w 472715"/>
              <a:gd name="connsiteY31" fmla="*/ 195989 h 471718"/>
              <a:gd name="connsiteX32" fmla="*/ 381093 w 472715"/>
              <a:gd name="connsiteY32" fmla="*/ 195989 h 471718"/>
              <a:gd name="connsiteX33" fmla="*/ 399701 w 472715"/>
              <a:gd name="connsiteY33" fmla="*/ 214597 h 471718"/>
              <a:gd name="connsiteX34" fmla="*/ 381093 w 472715"/>
              <a:gd name="connsiteY34" fmla="*/ 233206 h 471718"/>
              <a:gd name="connsiteX35" fmla="*/ 319234 w 472715"/>
              <a:gd name="connsiteY35" fmla="*/ 233206 h 471718"/>
              <a:gd name="connsiteX36" fmla="*/ 300625 w 472715"/>
              <a:gd name="connsiteY36" fmla="*/ 214597 h 471718"/>
              <a:gd name="connsiteX37" fmla="*/ 319234 w 472715"/>
              <a:gd name="connsiteY37" fmla="*/ 195989 h 471718"/>
              <a:gd name="connsiteX38" fmla="*/ 272180 w 472715"/>
              <a:gd name="connsiteY38" fmla="*/ 440079 h 471718"/>
              <a:gd name="connsiteX39" fmla="*/ 173561 w 472715"/>
              <a:gd name="connsiteY39" fmla="*/ 440079 h 471718"/>
              <a:gd name="connsiteX40" fmla="*/ 126304 w 472715"/>
              <a:gd name="connsiteY40" fmla="*/ 392823 h 471718"/>
              <a:gd name="connsiteX41" fmla="*/ 126304 w 472715"/>
              <a:gd name="connsiteY41" fmla="*/ 256834 h 471718"/>
              <a:gd name="connsiteX42" fmla="*/ 152873 w 472715"/>
              <a:gd name="connsiteY42" fmla="*/ 214344 h 471718"/>
              <a:gd name="connsiteX43" fmla="*/ 224924 w 472715"/>
              <a:gd name="connsiteY43" fmla="*/ 133217 h 471718"/>
              <a:gd name="connsiteX44" fmla="*/ 233746 w 472715"/>
              <a:gd name="connsiteY44" fmla="*/ 31808 h 471718"/>
              <a:gd name="connsiteX45" fmla="*/ 292208 w 472715"/>
              <a:gd name="connsiteY45" fmla="*/ 87583 h 471718"/>
              <a:gd name="connsiteX46" fmla="*/ 273651 w 472715"/>
              <a:gd name="connsiteY46" fmla="*/ 193758 h 471718"/>
              <a:gd name="connsiteX47" fmla="*/ 273651 w 472715"/>
              <a:gd name="connsiteY47" fmla="*/ 193758 h 471718"/>
              <a:gd name="connsiteX48" fmla="*/ 273651 w 472715"/>
              <a:gd name="connsiteY48" fmla="*/ 194011 h 471718"/>
              <a:gd name="connsiteX49" fmla="*/ 269037 w 472715"/>
              <a:gd name="connsiteY49" fmla="*/ 214952 h 471718"/>
              <a:gd name="connsiteX50" fmla="*/ 273144 w 472715"/>
              <a:gd name="connsiteY50" fmla="*/ 234930 h 471718"/>
              <a:gd name="connsiteX51" fmla="*/ 234558 w 472715"/>
              <a:gd name="connsiteY51" fmla="*/ 283910 h 471718"/>
              <a:gd name="connsiteX52" fmla="*/ 258896 w 472715"/>
              <a:gd name="connsiteY52" fmla="*/ 327008 h 471718"/>
              <a:gd name="connsiteX53" fmla="*/ 251899 w 472715"/>
              <a:gd name="connsiteY53" fmla="*/ 352563 h 471718"/>
              <a:gd name="connsiteX54" fmla="*/ 276237 w 472715"/>
              <a:gd name="connsiteY54" fmla="*/ 395662 h 471718"/>
              <a:gd name="connsiteX55" fmla="*/ 269138 w 472715"/>
              <a:gd name="connsiteY55" fmla="*/ 421470 h 471718"/>
              <a:gd name="connsiteX56" fmla="*/ 272180 w 472715"/>
              <a:gd name="connsiteY56" fmla="*/ 440079 h 471718"/>
              <a:gd name="connsiteX57" fmla="*/ 371966 w 472715"/>
              <a:gd name="connsiteY57" fmla="*/ 440079 h 471718"/>
              <a:gd name="connsiteX58" fmla="*/ 319234 w 472715"/>
              <a:gd name="connsiteY58" fmla="*/ 440079 h 471718"/>
              <a:gd name="connsiteX59" fmla="*/ 300625 w 472715"/>
              <a:gd name="connsiteY59" fmla="*/ 421470 h 471718"/>
              <a:gd name="connsiteX60" fmla="*/ 319234 w 472715"/>
              <a:gd name="connsiteY60" fmla="*/ 402862 h 471718"/>
              <a:gd name="connsiteX61" fmla="*/ 372169 w 472715"/>
              <a:gd name="connsiteY61" fmla="*/ 402862 h 471718"/>
              <a:gd name="connsiteX62" fmla="*/ 390777 w 472715"/>
              <a:gd name="connsiteY62" fmla="*/ 421470 h 471718"/>
              <a:gd name="connsiteX63" fmla="*/ 372169 w 472715"/>
              <a:gd name="connsiteY63" fmla="*/ 440079 h 471718"/>
              <a:gd name="connsiteX64" fmla="*/ 409082 w 472715"/>
              <a:gd name="connsiteY64" fmla="*/ 371172 h 471718"/>
              <a:gd name="connsiteX65" fmla="*/ 301994 w 472715"/>
              <a:gd name="connsiteY65" fmla="*/ 371172 h 471718"/>
              <a:gd name="connsiteX66" fmla="*/ 283386 w 472715"/>
              <a:gd name="connsiteY66" fmla="*/ 352563 h 471718"/>
              <a:gd name="connsiteX67" fmla="*/ 301994 w 472715"/>
              <a:gd name="connsiteY67" fmla="*/ 333955 h 471718"/>
              <a:gd name="connsiteX68" fmla="*/ 409082 w 472715"/>
              <a:gd name="connsiteY68" fmla="*/ 333955 h 471718"/>
              <a:gd name="connsiteX69" fmla="*/ 427690 w 472715"/>
              <a:gd name="connsiteY69" fmla="*/ 352563 h 471718"/>
              <a:gd name="connsiteX70" fmla="*/ 409082 w 472715"/>
              <a:gd name="connsiteY70" fmla="*/ 371172 h 471718"/>
              <a:gd name="connsiteX71" fmla="*/ 422417 w 472715"/>
              <a:gd name="connsiteY71" fmla="*/ 302468 h 471718"/>
              <a:gd name="connsiteX72" fmla="*/ 284755 w 472715"/>
              <a:gd name="connsiteY72" fmla="*/ 302468 h 471718"/>
              <a:gd name="connsiteX73" fmla="*/ 267094 w 472715"/>
              <a:gd name="connsiteY73" fmla="*/ 282861 h 471718"/>
              <a:gd name="connsiteX74" fmla="*/ 284755 w 472715"/>
              <a:gd name="connsiteY74" fmla="*/ 265200 h 471718"/>
              <a:gd name="connsiteX75" fmla="*/ 422417 w 472715"/>
              <a:gd name="connsiteY75" fmla="*/ 265200 h 471718"/>
              <a:gd name="connsiteX76" fmla="*/ 440077 w 472715"/>
              <a:gd name="connsiteY76" fmla="*/ 284806 h 471718"/>
              <a:gd name="connsiteX77" fmla="*/ 422417 w 472715"/>
              <a:gd name="connsiteY77" fmla="*/ 302468 h 47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72715" h="471718">
                <a:moveTo>
                  <a:pt x="472716" y="283656"/>
                </a:moveTo>
                <a:cubicBezTo>
                  <a:pt x="472716" y="258963"/>
                  <a:pt x="452079" y="237617"/>
                  <a:pt x="427741" y="233561"/>
                </a:cubicBezTo>
                <a:cubicBezTo>
                  <a:pt x="429825" y="227473"/>
                  <a:pt x="431057" y="221125"/>
                  <a:pt x="431392" y="214699"/>
                </a:cubicBezTo>
                <a:cubicBezTo>
                  <a:pt x="431361" y="186931"/>
                  <a:pt x="408859" y="164428"/>
                  <a:pt x="381093" y="164400"/>
                </a:cubicBezTo>
                <a:lnTo>
                  <a:pt x="316242" y="164400"/>
                </a:lnTo>
                <a:cubicBezTo>
                  <a:pt x="322145" y="138673"/>
                  <a:pt x="324701" y="112292"/>
                  <a:pt x="323848" y="85910"/>
                </a:cubicBezTo>
                <a:cubicBezTo>
                  <a:pt x="322885" y="39515"/>
                  <a:pt x="279989" y="-947"/>
                  <a:pt x="233544" y="17"/>
                </a:cubicBezTo>
                <a:cubicBezTo>
                  <a:pt x="220715" y="17"/>
                  <a:pt x="200789" y="1487"/>
                  <a:pt x="201448" y="18524"/>
                </a:cubicBezTo>
                <a:cubicBezTo>
                  <a:pt x="202918" y="50975"/>
                  <a:pt x="207279" y="92146"/>
                  <a:pt x="194958" y="122924"/>
                </a:cubicBezTo>
                <a:cubicBezTo>
                  <a:pt x="185433" y="150506"/>
                  <a:pt x="165305" y="173153"/>
                  <a:pt x="139031" y="185848"/>
                </a:cubicBezTo>
                <a:cubicBezTo>
                  <a:pt x="125894" y="192823"/>
                  <a:pt x="114706" y="202966"/>
                  <a:pt x="106479" y="215358"/>
                </a:cubicBezTo>
                <a:cubicBezTo>
                  <a:pt x="94390" y="204873"/>
                  <a:pt x="79113" y="198780"/>
                  <a:pt x="63127" y="198068"/>
                </a:cubicBezTo>
                <a:lnTo>
                  <a:pt x="15820" y="198068"/>
                </a:lnTo>
                <a:cubicBezTo>
                  <a:pt x="7075" y="198095"/>
                  <a:pt x="0" y="205193"/>
                  <a:pt x="0" y="213938"/>
                </a:cubicBezTo>
                <a:lnTo>
                  <a:pt x="0" y="435566"/>
                </a:lnTo>
                <a:cubicBezTo>
                  <a:pt x="0" y="444313"/>
                  <a:pt x="7075" y="451406"/>
                  <a:pt x="15820" y="451437"/>
                </a:cubicBezTo>
                <a:lnTo>
                  <a:pt x="63127" y="451437"/>
                </a:lnTo>
                <a:cubicBezTo>
                  <a:pt x="79065" y="450772"/>
                  <a:pt x="94309" y="444733"/>
                  <a:pt x="106377" y="434299"/>
                </a:cubicBezTo>
                <a:cubicBezTo>
                  <a:pt x="121426" y="456877"/>
                  <a:pt x="146441" y="470811"/>
                  <a:pt x="173561" y="471718"/>
                </a:cubicBezTo>
                <a:lnTo>
                  <a:pt x="372169" y="471718"/>
                </a:lnTo>
                <a:cubicBezTo>
                  <a:pt x="399935" y="471688"/>
                  <a:pt x="422437" y="449185"/>
                  <a:pt x="422468" y="421420"/>
                </a:cubicBezTo>
                <a:cubicBezTo>
                  <a:pt x="422138" y="414757"/>
                  <a:pt x="420825" y="408176"/>
                  <a:pt x="418563" y="401899"/>
                </a:cubicBezTo>
                <a:cubicBezTo>
                  <a:pt x="440924" y="396220"/>
                  <a:pt x="459127" y="375532"/>
                  <a:pt x="459127" y="352513"/>
                </a:cubicBezTo>
                <a:cubicBezTo>
                  <a:pt x="458711" y="342781"/>
                  <a:pt x="455887" y="333304"/>
                  <a:pt x="450913" y="324930"/>
                </a:cubicBezTo>
                <a:cubicBezTo>
                  <a:pt x="464015" y="315147"/>
                  <a:pt x="472021" y="299991"/>
                  <a:pt x="472716" y="283656"/>
                </a:cubicBezTo>
                <a:close/>
                <a:moveTo>
                  <a:pt x="94715" y="388361"/>
                </a:moveTo>
                <a:cubicBezTo>
                  <a:pt x="94715" y="405752"/>
                  <a:pt x="80618" y="419848"/>
                  <a:pt x="63228" y="419848"/>
                </a:cubicBezTo>
                <a:lnTo>
                  <a:pt x="31792" y="419848"/>
                </a:lnTo>
                <a:lnTo>
                  <a:pt x="31792" y="229859"/>
                </a:lnTo>
                <a:lnTo>
                  <a:pt x="63228" y="229859"/>
                </a:lnTo>
                <a:cubicBezTo>
                  <a:pt x="80607" y="229887"/>
                  <a:pt x="94688" y="243968"/>
                  <a:pt x="94715" y="261346"/>
                </a:cubicBezTo>
                <a:close/>
                <a:moveTo>
                  <a:pt x="319234" y="195989"/>
                </a:moveTo>
                <a:lnTo>
                  <a:pt x="381093" y="195989"/>
                </a:lnTo>
                <a:cubicBezTo>
                  <a:pt x="391371" y="195989"/>
                  <a:pt x="399701" y="204320"/>
                  <a:pt x="399701" y="214597"/>
                </a:cubicBezTo>
                <a:cubicBezTo>
                  <a:pt x="399701" y="224874"/>
                  <a:pt x="391371" y="233206"/>
                  <a:pt x="381093" y="233206"/>
                </a:cubicBezTo>
                <a:lnTo>
                  <a:pt x="319234" y="233206"/>
                </a:lnTo>
                <a:cubicBezTo>
                  <a:pt x="308957" y="233206"/>
                  <a:pt x="300625" y="224874"/>
                  <a:pt x="300625" y="214597"/>
                </a:cubicBezTo>
                <a:cubicBezTo>
                  <a:pt x="300625" y="204320"/>
                  <a:pt x="308957" y="195989"/>
                  <a:pt x="319234" y="195989"/>
                </a:cubicBezTo>
                <a:close/>
                <a:moveTo>
                  <a:pt x="272180" y="440079"/>
                </a:moveTo>
                <a:lnTo>
                  <a:pt x="173561" y="440079"/>
                </a:lnTo>
                <a:cubicBezTo>
                  <a:pt x="147473" y="440048"/>
                  <a:pt x="126332" y="418910"/>
                  <a:pt x="126304" y="392823"/>
                </a:cubicBezTo>
                <a:lnTo>
                  <a:pt x="126304" y="256834"/>
                </a:lnTo>
                <a:cubicBezTo>
                  <a:pt x="126375" y="238775"/>
                  <a:pt x="136668" y="222314"/>
                  <a:pt x="152873" y="214344"/>
                </a:cubicBezTo>
                <a:cubicBezTo>
                  <a:pt x="186749" y="197994"/>
                  <a:pt x="212689" y="168787"/>
                  <a:pt x="224924" y="133217"/>
                </a:cubicBezTo>
                <a:cubicBezTo>
                  <a:pt x="236992" y="101527"/>
                  <a:pt x="236028" y="65070"/>
                  <a:pt x="233746" y="31808"/>
                </a:cubicBezTo>
                <a:cubicBezTo>
                  <a:pt x="263713" y="32417"/>
                  <a:pt x="291600" y="57161"/>
                  <a:pt x="292208" y="87583"/>
                </a:cubicBezTo>
                <a:cubicBezTo>
                  <a:pt x="293747" y="123898"/>
                  <a:pt x="287417" y="160117"/>
                  <a:pt x="273651" y="193758"/>
                </a:cubicBezTo>
                <a:lnTo>
                  <a:pt x="273651" y="193758"/>
                </a:lnTo>
                <a:lnTo>
                  <a:pt x="273651" y="194011"/>
                </a:lnTo>
                <a:cubicBezTo>
                  <a:pt x="270618" y="200576"/>
                  <a:pt x="269044" y="207721"/>
                  <a:pt x="269037" y="214952"/>
                </a:cubicBezTo>
                <a:cubicBezTo>
                  <a:pt x="269380" y="221781"/>
                  <a:pt x="270765" y="228519"/>
                  <a:pt x="273144" y="234930"/>
                </a:cubicBezTo>
                <a:cubicBezTo>
                  <a:pt x="251949" y="241217"/>
                  <a:pt x="234558" y="261803"/>
                  <a:pt x="234558" y="283910"/>
                </a:cubicBezTo>
                <a:cubicBezTo>
                  <a:pt x="235304" y="301343"/>
                  <a:pt x="244352" y="317366"/>
                  <a:pt x="258896" y="327008"/>
                </a:cubicBezTo>
                <a:cubicBezTo>
                  <a:pt x="254681" y="334896"/>
                  <a:pt x="252290" y="343629"/>
                  <a:pt x="251899" y="352563"/>
                </a:cubicBezTo>
                <a:cubicBezTo>
                  <a:pt x="252629" y="370002"/>
                  <a:pt x="261680" y="386033"/>
                  <a:pt x="276237" y="395662"/>
                </a:cubicBezTo>
                <a:cubicBezTo>
                  <a:pt x="271927" y="403607"/>
                  <a:pt x="269499" y="412440"/>
                  <a:pt x="269138" y="421470"/>
                </a:cubicBezTo>
                <a:cubicBezTo>
                  <a:pt x="269373" y="427778"/>
                  <a:pt x="270395" y="434025"/>
                  <a:pt x="272180" y="440079"/>
                </a:cubicBezTo>
                <a:close/>
                <a:moveTo>
                  <a:pt x="371966" y="440079"/>
                </a:moveTo>
                <a:lnTo>
                  <a:pt x="319234" y="440079"/>
                </a:lnTo>
                <a:cubicBezTo>
                  <a:pt x="308957" y="440079"/>
                  <a:pt x="300625" y="431748"/>
                  <a:pt x="300625" y="421470"/>
                </a:cubicBezTo>
                <a:cubicBezTo>
                  <a:pt x="300625" y="411193"/>
                  <a:pt x="308957" y="402862"/>
                  <a:pt x="319234" y="402862"/>
                </a:cubicBezTo>
                <a:lnTo>
                  <a:pt x="372169" y="402862"/>
                </a:lnTo>
                <a:cubicBezTo>
                  <a:pt x="382447" y="402862"/>
                  <a:pt x="390777" y="411193"/>
                  <a:pt x="390777" y="421470"/>
                </a:cubicBezTo>
                <a:cubicBezTo>
                  <a:pt x="390777" y="431748"/>
                  <a:pt x="382447" y="440079"/>
                  <a:pt x="372169" y="440079"/>
                </a:cubicBezTo>
                <a:close/>
                <a:moveTo>
                  <a:pt x="409082" y="371172"/>
                </a:moveTo>
                <a:lnTo>
                  <a:pt x="301994" y="371172"/>
                </a:lnTo>
                <a:cubicBezTo>
                  <a:pt x="291717" y="371172"/>
                  <a:pt x="283386" y="362841"/>
                  <a:pt x="283386" y="352563"/>
                </a:cubicBezTo>
                <a:cubicBezTo>
                  <a:pt x="283386" y="342286"/>
                  <a:pt x="291717" y="333955"/>
                  <a:pt x="301994" y="333955"/>
                </a:cubicBezTo>
                <a:lnTo>
                  <a:pt x="409082" y="333955"/>
                </a:lnTo>
                <a:cubicBezTo>
                  <a:pt x="419359" y="333955"/>
                  <a:pt x="427690" y="342286"/>
                  <a:pt x="427690" y="352563"/>
                </a:cubicBezTo>
                <a:cubicBezTo>
                  <a:pt x="427690" y="362841"/>
                  <a:pt x="419359" y="371172"/>
                  <a:pt x="409082" y="371172"/>
                </a:cubicBezTo>
                <a:close/>
                <a:moveTo>
                  <a:pt x="422417" y="302468"/>
                </a:moveTo>
                <a:lnTo>
                  <a:pt x="284755" y="302468"/>
                </a:lnTo>
                <a:cubicBezTo>
                  <a:pt x="274464" y="301931"/>
                  <a:pt x="266557" y="293153"/>
                  <a:pt x="267094" y="282861"/>
                </a:cubicBezTo>
                <a:cubicBezTo>
                  <a:pt x="267592" y="273321"/>
                  <a:pt x="275214" y="265698"/>
                  <a:pt x="284755" y="265200"/>
                </a:cubicBezTo>
                <a:lnTo>
                  <a:pt x="422417" y="265200"/>
                </a:lnTo>
                <a:cubicBezTo>
                  <a:pt x="432710" y="265737"/>
                  <a:pt x="440615" y="274515"/>
                  <a:pt x="440077" y="284806"/>
                </a:cubicBezTo>
                <a:cubicBezTo>
                  <a:pt x="439580" y="294346"/>
                  <a:pt x="431959" y="301970"/>
                  <a:pt x="422417" y="302468"/>
                </a:cubicBezTo>
                <a:close/>
              </a:path>
            </a:pathLst>
          </a:custGeom>
          <a:solidFill>
            <a:srgbClr val="1D1D1B"/>
          </a:solidFill>
          <a:ln w="5031" cap="flat">
            <a:noFill/>
            <a:prstDash val="solid"/>
            <a:miter/>
          </a:ln>
        </p:spPr>
        <p:txBody>
          <a:bodyPr rtlCol="0" anchor="ctr"/>
          <a:lstStyle/>
          <a:p>
            <a:endParaRPr lang="de-DE" dirty="0"/>
          </a:p>
        </p:txBody>
      </p:sp>
      <p:grpSp>
        <p:nvGrpSpPr>
          <p:cNvPr id="30" name="Grafik 318">
            <a:extLst>
              <a:ext uri="{FF2B5EF4-FFF2-40B4-BE49-F238E27FC236}">
                <a16:creationId xmlns:a16="http://schemas.microsoft.com/office/drawing/2014/main" id="{74E90BC2-BC90-4385-B1AC-BAB0C770CF65}"/>
              </a:ext>
            </a:extLst>
          </p:cNvPr>
          <p:cNvGrpSpPr/>
          <p:nvPr>
            <p:custDataLst>
              <p:tags r:id="rId1"/>
            </p:custDataLst>
          </p:nvPr>
        </p:nvGrpSpPr>
        <p:grpSpPr>
          <a:xfrm>
            <a:off x="5881196" y="4040756"/>
            <a:ext cx="410243" cy="470756"/>
            <a:chOff x="3320896" y="4197621"/>
            <a:chExt cx="477608" cy="477253"/>
          </a:xfrm>
          <a:solidFill>
            <a:srgbClr val="1D1D1B"/>
          </a:solidFill>
        </p:grpSpPr>
        <p:sp>
          <p:nvSpPr>
            <p:cNvPr id="31" name="Freihandform: Form 30">
              <a:extLst>
                <a:ext uri="{FF2B5EF4-FFF2-40B4-BE49-F238E27FC236}">
                  <a16:creationId xmlns:a16="http://schemas.microsoft.com/office/drawing/2014/main" id="{9C2DBE6C-AB37-49B9-83C5-8F8AF91053EF}"/>
                </a:ext>
              </a:extLst>
            </p:cNvPr>
            <p:cNvSpPr/>
            <p:nvPr/>
          </p:nvSpPr>
          <p:spPr>
            <a:xfrm>
              <a:off x="3320896" y="4271953"/>
              <a:ext cx="403250" cy="402921"/>
            </a:xfrm>
            <a:custGeom>
              <a:avLst/>
              <a:gdLst>
                <a:gd name="connsiteX0" fmla="*/ 403251 w 403250"/>
                <a:gd name="connsiteY0" fmla="*/ 186516 h 402921"/>
                <a:gd name="connsiteX1" fmla="*/ 387685 w 403250"/>
                <a:gd name="connsiteY1" fmla="*/ 170949 h 402921"/>
                <a:gd name="connsiteX2" fmla="*/ 372118 w 403250"/>
                <a:gd name="connsiteY2" fmla="*/ 186516 h 402921"/>
                <a:gd name="connsiteX3" fmla="*/ 372118 w 403250"/>
                <a:gd name="connsiteY3" fmla="*/ 371992 h 402921"/>
                <a:gd name="connsiteX4" fmla="*/ 31284 w 403250"/>
                <a:gd name="connsiteY4" fmla="*/ 371992 h 402921"/>
                <a:gd name="connsiteX5" fmla="*/ 31284 w 403250"/>
                <a:gd name="connsiteY5" fmla="*/ 31107 h 402921"/>
                <a:gd name="connsiteX6" fmla="*/ 216710 w 403250"/>
                <a:gd name="connsiteY6" fmla="*/ 31107 h 402921"/>
                <a:gd name="connsiteX7" fmla="*/ 233139 w 403250"/>
                <a:gd name="connsiteY7" fmla="*/ 16454 h 402921"/>
                <a:gd name="connsiteX8" fmla="*/ 218486 w 403250"/>
                <a:gd name="connsiteY8" fmla="*/ 25 h 402921"/>
                <a:gd name="connsiteX9" fmla="*/ 216710 w 403250"/>
                <a:gd name="connsiteY9" fmla="*/ 25 h 402921"/>
                <a:gd name="connsiteX10" fmla="*/ 34175 w 403250"/>
                <a:gd name="connsiteY10" fmla="*/ 25 h 402921"/>
                <a:gd name="connsiteX11" fmla="*/ 0 w 403250"/>
                <a:gd name="connsiteY11" fmla="*/ 34149 h 402921"/>
                <a:gd name="connsiteX12" fmla="*/ 0 w 403250"/>
                <a:gd name="connsiteY12" fmla="*/ 368797 h 402921"/>
                <a:gd name="connsiteX13" fmla="*/ 34175 w 403250"/>
                <a:gd name="connsiteY13" fmla="*/ 402921 h 402921"/>
                <a:gd name="connsiteX14" fmla="*/ 368823 w 403250"/>
                <a:gd name="connsiteY14" fmla="*/ 402921 h 402921"/>
                <a:gd name="connsiteX15" fmla="*/ 402997 w 403250"/>
                <a:gd name="connsiteY15" fmla="*/ 368797 h 40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250" h="402921">
                  <a:moveTo>
                    <a:pt x="403251" y="186516"/>
                  </a:moveTo>
                  <a:cubicBezTo>
                    <a:pt x="403251" y="177919"/>
                    <a:pt x="396284" y="170949"/>
                    <a:pt x="387685" y="170949"/>
                  </a:cubicBezTo>
                  <a:cubicBezTo>
                    <a:pt x="379085" y="170949"/>
                    <a:pt x="372118" y="177919"/>
                    <a:pt x="372118" y="186516"/>
                  </a:cubicBezTo>
                  <a:lnTo>
                    <a:pt x="372118" y="371992"/>
                  </a:lnTo>
                  <a:lnTo>
                    <a:pt x="31284" y="371992"/>
                  </a:lnTo>
                  <a:lnTo>
                    <a:pt x="31284" y="31107"/>
                  </a:lnTo>
                  <a:lnTo>
                    <a:pt x="216710" y="31107"/>
                  </a:lnTo>
                  <a:cubicBezTo>
                    <a:pt x="225293" y="31597"/>
                    <a:pt x="232648" y="25037"/>
                    <a:pt x="233139" y="16454"/>
                  </a:cubicBezTo>
                  <a:cubicBezTo>
                    <a:pt x="233629" y="7871"/>
                    <a:pt x="227069" y="516"/>
                    <a:pt x="218486" y="25"/>
                  </a:cubicBezTo>
                  <a:cubicBezTo>
                    <a:pt x="217894" y="-8"/>
                    <a:pt x="217302" y="-8"/>
                    <a:pt x="216710" y="25"/>
                  </a:cubicBezTo>
                  <a:lnTo>
                    <a:pt x="34175" y="25"/>
                  </a:lnTo>
                  <a:cubicBezTo>
                    <a:pt x="15332" y="53"/>
                    <a:pt x="56" y="15307"/>
                    <a:pt x="0" y="34149"/>
                  </a:cubicBezTo>
                  <a:lnTo>
                    <a:pt x="0" y="368797"/>
                  </a:lnTo>
                  <a:cubicBezTo>
                    <a:pt x="56" y="387639"/>
                    <a:pt x="15332" y="402896"/>
                    <a:pt x="34175" y="402921"/>
                  </a:cubicBezTo>
                  <a:lnTo>
                    <a:pt x="368823" y="402921"/>
                  </a:lnTo>
                  <a:cubicBezTo>
                    <a:pt x="387674" y="402921"/>
                    <a:pt x="402967" y="387649"/>
                    <a:pt x="402997" y="368797"/>
                  </a:cubicBezTo>
                  <a:close/>
                </a:path>
              </a:pathLst>
            </a:custGeom>
            <a:solidFill>
              <a:srgbClr val="1D1D1B"/>
            </a:solidFill>
            <a:ln w="5031" cap="flat">
              <a:noFill/>
              <a:prstDash val="solid"/>
              <a:miter/>
            </a:ln>
          </p:spPr>
          <p:txBody>
            <a:bodyPr rtlCol="0" anchor="ctr"/>
            <a:lstStyle/>
            <a:p>
              <a:endParaRPr lang="de-DE" dirty="0"/>
            </a:p>
          </p:txBody>
        </p:sp>
        <p:sp>
          <p:nvSpPr>
            <p:cNvPr id="35" name="Freihandform: Form 34">
              <a:extLst>
                <a:ext uri="{FF2B5EF4-FFF2-40B4-BE49-F238E27FC236}">
                  <a16:creationId xmlns:a16="http://schemas.microsoft.com/office/drawing/2014/main" id="{2360E29C-D676-4B0A-9B7C-1EF512F89549}"/>
                </a:ext>
              </a:extLst>
            </p:cNvPr>
            <p:cNvSpPr/>
            <p:nvPr/>
          </p:nvSpPr>
          <p:spPr>
            <a:xfrm>
              <a:off x="3488494" y="4197621"/>
              <a:ext cx="310009" cy="309997"/>
            </a:xfrm>
            <a:custGeom>
              <a:avLst/>
              <a:gdLst>
                <a:gd name="connsiteX0" fmla="*/ 102503 w 310009"/>
                <a:gd name="connsiteY0" fmla="*/ 291727 h 309997"/>
                <a:gd name="connsiteX1" fmla="*/ 110210 w 310009"/>
                <a:gd name="connsiteY1" fmla="*/ 287518 h 309997"/>
                <a:gd name="connsiteX2" fmla="*/ 259027 w 310009"/>
                <a:gd name="connsiteY2" fmla="*/ 138701 h 309997"/>
                <a:gd name="connsiteX3" fmla="*/ 291832 w 310009"/>
                <a:gd name="connsiteY3" fmla="*/ 105946 h 309997"/>
                <a:gd name="connsiteX4" fmla="*/ 291832 w 310009"/>
                <a:gd name="connsiteY4" fmla="*/ 105946 h 309997"/>
                <a:gd name="connsiteX5" fmla="*/ 291832 w 310009"/>
                <a:gd name="connsiteY5" fmla="*/ 105946 h 309997"/>
                <a:gd name="connsiteX6" fmla="*/ 291832 w 310009"/>
                <a:gd name="connsiteY6" fmla="*/ 18177 h 309997"/>
                <a:gd name="connsiteX7" fmla="*/ 204063 w 310009"/>
                <a:gd name="connsiteY7" fmla="*/ 18177 h 309997"/>
                <a:gd name="connsiteX8" fmla="*/ 22542 w 310009"/>
                <a:gd name="connsiteY8" fmla="*/ 199699 h 309997"/>
                <a:gd name="connsiteX9" fmla="*/ 18030 w 310009"/>
                <a:gd name="connsiteY9" fmla="*/ 207710 h 309997"/>
                <a:gd name="connsiteX10" fmla="*/ 334 w 310009"/>
                <a:gd name="connsiteY10" fmla="*/ 291017 h 309997"/>
                <a:gd name="connsiteX11" fmla="*/ 12560 w 310009"/>
                <a:gd name="connsiteY11" fmla="*/ 309667 h 309997"/>
                <a:gd name="connsiteX12" fmla="*/ 18942 w 310009"/>
                <a:gd name="connsiteY12" fmla="*/ 309676 h 309997"/>
                <a:gd name="connsiteX13" fmla="*/ 102097 w 310009"/>
                <a:gd name="connsiteY13" fmla="*/ 291828 h 309997"/>
                <a:gd name="connsiteX14" fmla="*/ 226069 w 310009"/>
                <a:gd name="connsiteY14" fmla="*/ 40132 h 309997"/>
                <a:gd name="connsiteX15" fmla="*/ 226069 w 310009"/>
                <a:gd name="connsiteY15" fmla="*/ 40132 h 309997"/>
                <a:gd name="connsiteX16" fmla="*/ 226069 w 310009"/>
                <a:gd name="connsiteY16" fmla="*/ 40132 h 309997"/>
                <a:gd name="connsiteX17" fmla="*/ 269675 w 310009"/>
                <a:gd name="connsiteY17" fmla="*/ 40132 h 309997"/>
                <a:gd name="connsiteX18" fmla="*/ 269675 w 310009"/>
                <a:gd name="connsiteY18" fmla="*/ 83687 h 309997"/>
                <a:gd name="connsiteX19" fmla="*/ 269675 w 310009"/>
                <a:gd name="connsiteY19" fmla="*/ 83687 h 309997"/>
                <a:gd name="connsiteX20" fmla="*/ 269675 w 310009"/>
                <a:gd name="connsiteY20" fmla="*/ 83687 h 309997"/>
                <a:gd name="connsiteX21" fmla="*/ 247770 w 310009"/>
                <a:gd name="connsiteY21" fmla="*/ 105744 h 309997"/>
                <a:gd name="connsiteX22" fmla="*/ 204216 w 310009"/>
                <a:gd name="connsiteY22" fmla="*/ 61986 h 309997"/>
                <a:gd name="connsiteX23" fmla="*/ 91449 w 310009"/>
                <a:gd name="connsiteY23" fmla="*/ 262268 h 309997"/>
                <a:gd name="connsiteX24" fmla="*/ 35675 w 310009"/>
                <a:gd name="connsiteY24" fmla="*/ 274234 h 309997"/>
                <a:gd name="connsiteX25" fmla="*/ 47590 w 310009"/>
                <a:gd name="connsiteY25" fmla="*/ 218459 h 309997"/>
                <a:gd name="connsiteX26" fmla="*/ 182109 w 310009"/>
                <a:gd name="connsiteY26" fmla="*/ 83941 h 309997"/>
                <a:gd name="connsiteX27" fmla="*/ 225968 w 310009"/>
                <a:gd name="connsiteY27" fmla="*/ 127901 h 30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0009" h="309997">
                  <a:moveTo>
                    <a:pt x="102503" y="291727"/>
                  </a:moveTo>
                  <a:cubicBezTo>
                    <a:pt x="105389" y="291004"/>
                    <a:pt x="108042" y="289556"/>
                    <a:pt x="110210" y="287518"/>
                  </a:cubicBezTo>
                  <a:lnTo>
                    <a:pt x="259027" y="138701"/>
                  </a:lnTo>
                  <a:lnTo>
                    <a:pt x="291832" y="105946"/>
                  </a:lnTo>
                  <a:lnTo>
                    <a:pt x="291832" y="105946"/>
                  </a:lnTo>
                  <a:lnTo>
                    <a:pt x="291832" y="105946"/>
                  </a:lnTo>
                  <a:cubicBezTo>
                    <a:pt x="316069" y="81710"/>
                    <a:pt x="316069" y="42414"/>
                    <a:pt x="291832" y="18177"/>
                  </a:cubicBezTo>
                  <a:cubicBezTo>
                    <a:pt x="267596" y="-6059"/>
                    <a:pt x="228300" y="-6059"/>
                    <a:pt x="204063" y="18177"/>
                  </a:cubicBezTo>
                  <a:lnTo>
                    <a:pt x="22542" y="199699"/>
                  </a:lnTo>
                  <a:cubicBezTo>
                    <a:pt x="20334" y="201907"/>
                    <a:pt x="18773" y="204677"/>
                    <a:pt x="18030" y="207710"/>
                  </a:cubicBezTo>
                  <a:lnTo>
                    <a:pt x="334" y="291017"/>
                  </a:lnTo>
                  <a:cubicBezTo>
                    <a:pt x="-1440" y="299543"/>
                    <a:pt x="4034" y="307893"/>
                    <a:pt x="12560" y="309667"/>
                  </a:cubicBezTo>
                  <a:cubicBezTo>
                    <a:pt x="14665" y="310105"/>
                    <a:pt x="16837" y="310108"/>
                    <a:pt x="18942" y="309676"/>
                  </a:cubicBezTo>
                  <a:lnTo>
                    <a:pt x="102097" y="291828"/>
                  </a:lnTo>
                  <a:close/>
                  <a:moveTo>
                    <a:pt x="226069" y="40132"/>
                  </a:moveTo>
                  <a:lnTo>
                    <a:pt x="226069" y="40132"/>
                  </a:lnTo>
                  <a:lnTo>
                    <a:pt x="226069" y="40132"/>
                  </a:lnTo>
                  <a:cubicBezTo>
                    <a:pt x="238375" y="28743"/>
                    <a:pt x="257369" y="28743"/>
                    <a:pt x="269675" y="40132"/>
                  </a:cubicBezTo>
                  <a:cubicBezTo>
                    <a:pt x="281413" y="52278"/>
                    <a:pt x="281413" y="71542"/>
                    <a:pt x="269675" y="83687"/>
                  </a:cubicBezTo>
                  <a:lnTo>
                    <a:pt x="269675" y="83687"/>
                  </a:lnTo>
                  <a:lnTo>
                    <a:pt x="269675" y="83687"/>
                  </a:lnTo>
                  <a:lnTo>
                    <a:pt x="247770" y="105744"/>
                  </a:lnTo>
                  <a:lnTo>
                    <a:pt x="204216" y="61986"/>
                  </a:lnTo>
                  <a:close/>
                  <a:moveTo>
                    <a:pt x="91449" y="262268"/>
                  </a:moveTo>
                  <a:lnTo>
                    <a:pt x="35675" y="274234"/>
                  </a:lnTo>
                  <a:lnTo>
                    <a:pt x="47590" y="218459"/>
                  </a:lnTo>
                  <a:lnTo>
                    <a:pt x="182109" y="83941"/>
                  </a:lnTo>
                  <a:lnTo>
                    <a:pt x="225968" y="127901"/>
                  </a:lnTo>
                  <a:close/>
                </a:path>
              </a:pathLst>
            </a:custGeom>
            <a:solidFill>
              <a:srgbClr val="1D1D1B"/>
            </a:solidFill>
            <a:ln w="5031" cap="flat">
              <a:noFill/>
              <a:prstDash val="solid"/>
              <a:miter/>
            </a:ln>
          </p:spPr>
          <p:txBody>
            <a:bodyPr rtlCol="0" anchor="ctr"/>
            <a:lstStyle/>
            <a:p>
              <a:endParaRPr lang="de-DE" dirty="0"/>
            </a:p>
          </p:txBody>
        </p:sp>
      </p:grpSp>
    </p:spTree>
    <p:extLst>
      <p:ext uri="{BB962C8B-B14F-4D97-AF65-F5344CB8AC3E}">
        <p14:creationId xmlns:p14="http://schemas.microsoft.com/office/powerpoint/2010/main" val="422303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1250"/>
                                        <p:tgtEl>
                                          <p:spTgt spid="42"/>
                                        </p:tgtEl>
                                      </p:cBhvr>
                                    </p:animEffect>
                                  </p:childTnLst>
                                </p:cTn>
                              </p:par>
                            </p:childTnLst>
                          </p:cTn>
                        </p:par>
                        <p:par>
                          <p:cTn id="14" fill="hold">
                            <p:stCondLst>
                              <p:cond delay="1250"/>
                            </p:stCondLst>
                            <p:childTnLst>
                              <p:par>
                                <p:cTn id="15" presetID="10"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50"/>
                                        <p:tgtEl>
                                          <p:spTgt spid="1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750"/>
                                        <p:tgtEl>
                                          <p:spTgt spid="13"/>
                                        </p:tgtEl>
                                      </p:cBhvr>
                                    </p:animEffect>
                                  </p:childTnLst>
                                </p:cTn>
                              </p:par>
                            </p:childTnLst>
                          </p:cTn>
                        </p:par>
                        <p:par>
                          <p:cTn id="22" fill="hold">
                            <p:stCondLst>
                              <p:cond delay="2750"/>
                            </p:stCondLst>
                            <p:childTnLst>
                              <p:par>
                                <p:cTn id="23" presetID="10"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build="p"/>
      <p:bldP spid="12" grpId="0"/>
      <p:bldP spid="13" grpId="0"/>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FD0171-66EE-44A6-9C9F-E3E3380C1F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kt 7" hidden="1">
                        <a:extLst>
                          <a:ext uri="{FF2B5EF4-FFF2-40B4-BE49-F238E27FC236}">
                            <a16:creationId xmlns:a16="http://schemas.microsoft.com/office/drawing/2014/main" id="{4BFD0171-66EE-44A6-9C9F-E3E3380C1F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0" name="Gruppieren 29">
            <a:extLst>
              <a:ext uri="{FF2B5EF4-FFF2-40B4-BE49-F238E27FC236}">
                <a16:creationId xmlns:a16="http://schemas.microsoft.com/office/drawing/2014/main" id="{1B353251-B997-4A79-A1D1-ED9CC49E3DD6}"/>
              </a:ext>
            </a:extLst>
          </p:cNvPr>
          <p:cNvGrpSpPr/>
          <p:nvPr>
            <p:custDataLst>
              <p:tags r:id="rId2"/>
            </p:custDataLst>
          </p:nvPr>
        </p:nvGrpSpPr>
        <p:grpSpPr bwMode="gray">
          <a:xfrm>
            <a:off x="5231904" y="2452704"/>
            <a:ext cx="1007616" cy="334057"/>
            <a:chOff x="3509962" y="3789040"/>
            <a:chExt cx="1498067" cy="496657"/>
          </a:xfrm>
        </p:grpSpPr>
        <p:sp>
          <p:nvSpPr>
            <p:cNvPr id="31" name="Freihandform: Form 30">
              <a:extLst>
                <a:ext uri="{FF2B5EF4-FFF2-40B4-BE49-F238E27FC236}">
                  <a16:creationId xmlns:a16="http://schemas.microsoft.com/office/drawing/2014/main" id="{148B4B84-3CEF-4F26-9F5E-472E294FB291}"/>
                </a:ext>
              </a:extLst>
            </p:cNvPr>
            <p:cNvSpPr/>
            <p:nvPr userDrawn="1"/>
          </p:nvSpPr>
          <p:spPr bwMode="gray">
            <a:xfrm>
              <a:off x="3509962" y="3789040"/>
              <a:ext cx="565173" cy="496381"/>
            </a:xfrm>
            <a:custGeom>
              <a:avLst/>
              <a:gdLst>
                <a:gd name="connsiteX0" fmla="*/ 565162 w 565173"/>
                <a:gd name="connsiteY0" fmla="*/ 209657 h 496381"/>
                <a:gd name="connsiteX1" fmla="*/ 526490 w 565173"/>
                <a:gd name="connsiteY1" fmla="*/ 158279 h 496381"/>
                <a:gd name="connsiteX2" fmla="*/ 210762 w 565173"/>
                <a:gd name="connsiteY2" fmla="*/ 0 h 496381"/>
                <a:gd name="connsiteX3" fmla="*/ 164632 w 565173"/>
                <a:gd name="connsiteY3" fmla="*/ 108834 h 496381"/>
                <a:gd name="connsiteX4" fmla="*/ 395834 w 565173"/>
                <a:gd name="connsiteY4" fmla="*/ 216839 h 496381"/>
                <a:gd name="connsiteX5" fmla="*/ 57455 w 565173"/>
                <a:gd name="connsiteY5" fmla="*/ 360754 h 496381"/>
                <a:gd name="connsiteX6" fmla="*/ 0 w 565173"/>
                <a:gd name="connsiteY6" fmla="*/ 496381 h 496381"/>
                <a:gd name="connsiteX7" fmla="*/ 501630 w 565173"/>
                <a:gd name="connsiteY7" fmla="*/ 277333 h 496381"/>
                <a:gd name="connsiteX8" fmla="*/ 565162 w 565173"/>
                <a:gd name="connsiteY8" fmla="*/ 209657 h 49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173" h="496381">
                  <a:moveTo>
                    <a:pt x="565162" y="209657"/>
                  </a:moveTo>
                  <a:cubicBezTo>
                    <a:pt x="565438" y="197779"/>
                    <a:pt x="560742" y="175681"/>
                    <a:pt x="526490" y="158279"/>
                  </a:cubicBezTo>
                  <a:lnTo>
                    <a:pt x="210762" y="0"/>
                  </a:lnTo>
                  <a:lnTo>
                    <a:pt x="164632" y="108834"/>
                  </a:lnTo>
                  <a:lnTo>
                    <a:pt x="395834" y="216839"/>
                  </a:lnTo>
                  <a:lnTo>
                    <a:pt x="57455" y="360754"/>
                  </a:lnTo>
                  <a:lnTo>
                    <a:pt x="0" y="496381"/>
                  </a:lnTo>
                  <a:lnTo>
                    <a:pt x="501630" y="277333"/>
                  </a:lnTo>
                  <a:cubicBezTo>
                    <a:pt x="541407" y="259930"/>
                    <a:pt x="564610" y="235346"/>
                    <a:pt x="565162" y="209657"/>
                  </a:cubicBezTo>
                </a:path>
              </a:pathLst>
            </a:custGeom>
            <a:solidFill>
              <a:schemeClr val="tx1"/>
            </a:solidFill>
            <a:ln w="2754" cap="flat">
              <a:noFill/>
              <a:prstDash val="solid"/>
              <a:miter/>
            </a:ln>
          </p:spPr>
          <p:txBody>
            <a:bodyPr rtlCol="0" anchor="ctr"/>
            <a:lstStyle/>
            <a:p>
              <a:endParaRPr lang="en-GB"/>
            </a:p>
          </p:txBody>
        </p:sp>
        <p:sp>
          <p:nvSpPr>
            <p:cNvPr id="32" name="Freihandform: Form 31">
              <a:extLst>
                <a:ext uri="{FF2B5EF4-FFF2-40B4-BE49-F238E27FC236}">
                  <a16:creationId xmlns:a16="http://schemas.microsoft.com/office/drawing/2014/main" id="{E783234B-0B46-4326-99E1-EB6E022C48A4}"/>
                </a:ext>
              </a:extLst>
            </p:cNvPr>
            <p:cNvSpPr/>
            <p:nvPr userDrawn="1"/>
          </p:nvSpPr>
          <p:spPr bwMode="gray">
            <a:xfrm>
              <a:off x="3976786" y="3789040"/>
              <a:ext cx="564896" cy="496657"/>
            </a:xfrm>
            <a:custGeom>
              <a:avLst/>
              <a:gdLst>
                <a:gd name="connsiteX0" fmla="*/ 564886 w 564896"/>
                <a:gd name="connsiteY0" fmla="*/ 209657 h 496657"/>
                <a:gd name="connsiteX1" fmla="*/ 526214 w 564896"/>
                <a:gd name="connsiteY1" fmla="*/ 158279 h 496657"/>
                <a:gd name="connsiteX2" fmla="*/ 210486 w 564896"/>
                <a:gd name="connsiteY2" fmla="*/ 0 h 496657"/>
                <a:gd name="connsiteX3" fmla="*/ 164356 w 564896"/>
                <a:gd name="connsiteY3" fmla="*/ 108834 h 496657"/>
                <a:gd name="connsiteX4" fmla="*/ 395558 w 564896"/>
                <a:gd name="connsiteY4" fmla="*/ 216839 h 496657"/>
                <a:gd name="connsiteX5" fmla="*/ 57455 w 564896"/>
                <a:gd name="connsiteY5" fmla="*/ 361030 h 496657"/>
                <a:gd name="connsiteX6" fmla="*/ 0 w 564896"/>
                <a:gd name="connsiteY6" fmla="*/ 496658 h 496657"/>
                <a:gd name="connsiteX7" fmla="*/ 501353 w 564896"/>
                <a:gd name="connsiteY7" fmla="*/ 277609 h 496657"/>
                <a:gd name="connsiteX8" fmla="*/ 564886 w 564896"/>
                <a:gd name="connsiteY8" fmla="*/ 209657 h 49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896" h="496657">
                  <a:moveTo>
                    <a:pt x="564886" y="209657"/>
                  </a:moveTo>
                  <a:cubicBezTo>
                    <a:pt x="565162" y="197779"/>
                    <a:pt x="560466" y="175681"/>
                    <a:pt x="526214" y="158279"/>
                  </a:cubicBezTo>
                  <a:lnTo>
                    <a:pt x="210486" y="0"/>
                  </a:lnTo>
                  <a:lnTo>
                    <a:pt x="164356" y="108834"/>
                  </a:lnTo>
                  <a:lnTo>
                    <a:pt x="395558" y="216839"/>
                  </a:lnTo>
                  <a:lnTo>
                    <a:pt x="57455" y="361030"/>
                  </a:lnTo>
                  <a:lnTo>
                    <a:pt x="0" y="496658"/>
                  </a:lnTo>
                  <a:lnTo>
                    <a:pt x="501353" y="277609"/>
                  </a:lnTo>
                  <a:cubicBezTo>
                    <a:pt x="541130" y="259930"/>
                    <a:pt x="564333" y="235346"/>
                    <a:pt x="564886" y="209657"/>
                  </a:cubicBezTo>
                </a:path>
              </a:pathLst>
            </a:custGeom>
            <a:solidFill>
              <a:schemeClr val="tx1"/>
            </a:solidFill>
            <a:ln w="2754" cap="flat">
              <a:noFill/>
              <a:prstDash val="solid"/>
              <a:miter/>
            </a:ln>
          </p:spPr>
          <p:txBody>
            <a:bodyPr rtlCol="0" anchor="ctr"/>
            <a:lstStyle/>
            <a:p>
              <a:endParaRPr lang="en-GB"/>
            </a:p>
          </p:txBody>
        </p:sp>
        <p:sp>
          <p:nvSpPr>
            <p:cNvPr id="33" name="Freihandform: Form 32">
              <a:extLst>
                <a:ext uri="{FF2B5EF4-FFF2-40B4-BE49-F238E27FC236}">
                  <a16:creationId xmlns:a16="http://schemas.microsoft.com/office/drawing/2014/main" id="{67DF6A85-2D2F-4874-B4F2-309ED511AE66}"/>
                </a:ext>
              </a:extLst>
            </p:cNvPr>
            <p:cNvSpPr/>
            <p:nvPr userDrawn="1"/>
          </p:nvSpPr>
          <p:spPr bwMode="gray">
            <a:xfrm>
              <a:off x="4443059" y="3789040"/>
              <a:ext cx="564970" cy="496657"/>
            </a:xfrm>
            <a:custGeom>
              <a:avLst/>
              <a:gdLst>
                <a:gd name="connsiteX0" fmla="*/ 526766 w 564970"/>
                <a:gd name="connsiteY0" fmla="*/ 158555 h 496657"/>
                <a:gd name="connsiteX1" fmla="*/ 210762 w 564970"/>
                <a:gd name="connsiteY1" fmla="*/ 0 h 496657"/>
                <a:gd name="connsiteX2" fmla="*/ 164632 w 564970"/>
                <a:gd name="connsiteY2" fmla="*/ 108834 h 496657"/>
                <a:gd name="connsiteX3" fmla="*/ 395558 w 564970"/>
                <a:gd name="connsiteY3" fmla="*/ 216839 h 496657"/>
                <a:gd name="connsiteX4" fmla="*/ 57455 w 564970"/>
                <a:gd name="connsiteY4" fmla="*/ 361030 h 496657"/>
                <a:gd name="connsiteX5" fmla="*/ 0 w 564970"/>
                <a:gd name="connsiteY5" fmla="*/ 496658 h 496657"/>
                <a:gd name="connsiteX6" fmla="*/ 501353 w 564970"/>
                <a:gd name="connsiteY6" fmla="*/ 277609 h 496657"/>
                <a:gd name="connsiteX7" fmla="*/ 564886 w 564970"/>
                <a:gd name="connsiteY7" fmla="*/ 209933 h 496657"/>
                <a:gd name="connsiteX8" fmla="*/ 526766 w 564970"/>
                <a:gd name="connsiteY8" fmla="*/ 158555 h 49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970" h="496657">
                  <a:moveTo>
                    <a:pt x="526766" y="158555"/>
                  </a:moveTo>
                  <a:lnTo>
                    <a:pt x="210762" y="0"/>
                  </a:lnTo>
                  <a:lnTo>
                    <a:pt x="164632" y="108834"/>
                  </a:lnTo>
                  <a:lnTo>
                    <a:pt x="395558" y="216839"/>
                  </a:lnTo>
                  <a:lnTo>
                    <a:pt x="57455" y="361030"/>
                  </a:lnTo>
                  <a:lnTo>
                    <a:pt x="0" y="496658"/>
                  </a:lnTo>
                  <a:lnTo>
                    <a:pt x="501353" y="277609"/>
                  </a:lnTo>
                  <a:cubicBezTo>
                    <a:pt x="541130" y="260207"/>
                    <a:pt x="564333" y="235622"/>
                    <a:pt x="564886" y="209933"/>
                  </a:cubicBezTo>
                  <a:cubicBezTo>
                    <a:pt x="565715" y="198055"/>
                    <a:pt x="561019" y="175681"/>
                    <a:pt x="526766" y="158555"/>
                  </a:cubicBezTo>
                </a:path>
              </a:pathLst>
            </a:custGeom>
            <a:solidFill>
              <a:schemeClr val="tx1"/>
            </a:solidFill>
            <a:ln w="2754" cap="flat">
              <a:noFill/>
              <a:prstDash val="solid"/>
              <a:miter/>
            </a:ln>
          </p:spPr>
          <p:txBody>
            <a:bodyPr rtlCol="0" anchor="ctr"/>
            <a:lstStyle/>
            <a:p>
              <a:endParaRPr lang="en-GB"/>
            </a:p>
          </p:txBody>
        </p:sp>
      </p:grpSp>
      <p:sp>
        <p:nvSpPr>
          <p:cNvPr id="4" name="Fußzeilenplatzhalter 3">
            <a:extLst>
              <a:ext uri="{FF2B5EF4-FFF2-40B4-BE49-F238E27FC236}">
                <a16:creationId xmlns:a16="http://schemas.microsoft.com/office/drawing/2014/main" id="{99FDD3D6-CDD7-457F-9A02-36BC9DBE73AA}"/>
              </a:ext>
            </a:extLst>
          </p:cNvPr>
          <p:cNvSpPr>
            <a:spLocks noGrp="1"/>
          </p:cNvSpPr>
          <p:nvPr>
            <p:ph type="ftr" sz="quarter" idx="11"/>
            <p:custDataLst>
              <p:tags r:id="rId3"/>
            </p:custDataLst>
          </p:nvPr>
        </p:nvSpPr>
        <p:spPr>
          <a:xfrm>
            <a:off x="8831966" y="304475"/>
            <a:ext cx="1801058" cy="144000"/>
          </a:xfrm>
        </p:spPr>
        <p:txBody>
          <a:bodyPr/>
          <a:lstStyle/>
          <a:p>
            <a:r>
              <a:rPr lang="de-DE"/>
              <a:t>Green </a:t>
            </a:r>
            <a:r>
              <a:rPr lang="de-DE" err="1"/>
              <a:t>Gantry</a:t>
            </a:r>
            <a:endParaRPr lang="de-DE"/>
          </a:p>
        </p:txBody>
      </p:sp>
      <p:sp>
        <p:nvSpPr>
          <p:cNvPr id="3" name="Foliennummernplatzhalter 2">
            <a:extLst>
              <a:ext uri="{FF2B5EF4-FFF2-40B4-BE49-F238E27FC236}">
                <a16:creationId xmlns:a16="http://schemas.microsoft.com/office/drawing/2014/main" id="{8E0C4D03-EB42-4745-898B-E5C12DB9A72C}"/>
              </a:ext>
            </a:extLst>
          </p:cNvPr>
          <p:cNvSpPr>
            <a:spLocks noGrp="1"/>
          </p:cNvSpPr>
          <p:nvPr>
            <p:ph type="sldNum" sz="quarter" idx="12"/>
          </p:nvPr>
        </p:nvSpPr>
        <p:spPr/>
        <p:txBody>
          <a:bodyPr/>
          <a:lstStyle/>
          <a:p>
            <a:fld id="{8FF9B0DE-3FEB-4AA0-B465-B80EF7C1333D}" type="slidenum">
              <a:rPr lang="en-GB" smtClean="0"/>
              <a:pPr/>
              <a:t>5</a:t>
            </a:fld>
            <a:endParaRPr lang="en-GB"/>
          </a:p>
        </p:txBody>
      </p:sp>
      <p:pic>
        <p:nvPicPr>
          <p:cNvPr id="10" name="Bildplatzhalter 9" descr="Ein Bild, das Text, Person, Wand, darstellend enthält.&#10;&#10;Automatisch generierte Beschreibung">
            <a:extLst>
              <a:ext uri="{FF2B5EF4-FFF2-40B4-BE49-F238E27FC236}">
                <a16:creationId xmlns:a16="http://schemas.microsoft.com/office/drawing/2014/main" id="{C2EFB3FD-8533-415C-AFE2-BFDB28729FB4}"/>
              </a:ext>
            </a:extLst>
          </p:cNvPr>
          <p:cNvPicPr>
            <a:picLocks noGrp="1" noChangeAspect="1"/>
          </p:cNvPicPr>
          <p:nvPr>
            <p:ph type="pic" sz="quarter" idx="15"/>
          </p:nvPr>
        </p:nvPicPr>
        <p:blipFill rotWithShape="1">
          <a:blip r:embed="rId7">
            <a:extLst>
              <a:ext uri="{28A0092B-C50C-407E-A947-70E740481C1C}">
                <a14:useLocalDpi xmlns:a14="http://schemas.microsoft.com/office/drawing/2010/main" val="0"/>
              </a:ext>
            </a:extLst>
          </a:blip>
          <a:srcRect l="1817" t="6966" r="1842" b="28019"/>
          <a:stretch/>
        </p:blipFill>
        <p:spPr>
          <a:xfrm>
            <a:off x="1276962" y="1702977"/>
            <a:ext cx="3528000" cy="3528000"/>
          </a:xfrm>
        </p:spPr>
      </p:pic>
      <p:sp>
        <p:nvSpPr>
          <p:cNvPr id="12" name="Textplatzhalter 4">
            <a:extLst>
              <a:ext uri="{FF2B5EF4-FFF2-40B4-BE49-F238E27FC236}">
                <a16:creationId xmlns:a16="http://schemas.microsoft.com/office/drawing/2014/main" id="{0AD06D48-4B8C-4167-93EA-E9BBE542A18C}"/>
              </a:ext>
            </a:extLst>
          </p:cNvPr>
          <p:cNvSpPr txBox="1">
            <a:spLocks/>
          </p:cNvSpPr>
          <p:nvPr/>
        </p:nvSpPr>
        <p:spPr bwMode="gray">
          <a:xfrm>
            <a:off x="6888088" y="2486673"/>
            <a:ext cx="4176464" cy="2448271"/>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200"/>
              </a:spcAft>
              <a:buFont typeface="Arial" panose="020B0604020202020204" pitchFamily="34" charset="0"/>
              <a:buNone/>
              <a:defRPr sz="1600" b="1" i="1" kern="120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tabLst>
                <a:tab pos="723900" algn="l"/>
              </a:tabLst>
              <a:defRPr sz="1400" b="0" i="0" kern="1200">
                <a:solidFill>
                  <a:schemeClr val="bg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 typeface="Wingdings 2" panose="05020102010507070707" pitchFamily="18" charset="2"/>
              <a:buNone/>
              <a:tabLst>
                <a:tab pos="723900" algn="l"/>
              </a:tabLst>
              <a:defRPr sz="1400" kern="1200">
                <a:solidFill>
                  <a:schemeClr val="bg1"/>
                </a:solidFill>
                <a:latin typeface="+mn-lt"/>
                <a:ea typeface="+mn-ea"/>
                <a:cs typeface="+mn-cs"/>
              </a:defRPr>
            </a:lvl3pPr>
            <a:lvl4pPr marL="0" indent="0" algn="l" defTabSz="914400" rtl="0" eaLnBrk="1" latinLnBrk="0" hangingPunct="1">
              <a:lnSpc>
                <a:spcPct val="110000"/>
              </a:lnSpc>
              <a:spcBef>
                <a:spcPts val="0"/>
              </a:spcBef>
              <a:spcAft>
                <a:spcPts val="0"/>
              </a:spcAft>
              <a:buClr>
                <a:srgbClr val="706F6F"/>
              </a:buClr>
              <a:buFont typeface="Wingdings 2" panose="05020102010507070707" pitchFamily="18" charset="2"/>
              <a:buNone/>
              <a:tabLst>
                <a:tab pos="723900" algn="l"/>
              </a:tabLst>
              <a:defRPr sz="1400" kern="1200">
                <a:solidFill>
                  <a:schemeClr val="bg1"/>
                </a:solidFill>
                <a:latin typeface="+mn-lt"/>
                <a:ea typeface="+mn-ea"/>
                <a:cs typeface="+mn-cs"/>
              </a:defRPr>
            </a:lvl4pPr>
            <a:lvl5pPr marL="0" indent="0" algn="l" defTabSz="914400" rtl="0" eaLnBrk="1" latinLnBrk="0" hangingPunct="1">
              <a:lnSpc>
                <a:spcPct val="110000"/>
              </a:lnSpc>
              <a:spcBef>
                <a:spcPts val="0"/>
              </a:spcBef>
              <a:spcAft>
                <a:spcPts val="0"/>
              </a:spcAft>
              <a:buClr>
                <a:srgbClr val="9D9D9C"/>
              </a:buClr>
              <a:buFont typeface="Wingdings 2" panose="05020102010507070707" pitchFamily="18" charset="2"/>
              <a:buNone/>
              <a:tabLst>
                <a:tab pos="723900" algn="l"/>
              </a:tabLst>
              <a:defRPr sz="1400" kern="1200">
                <a:solidFill>
                  <a:schemeClr val="bg1"/>
                </a:solidFill>
                <a:latin typeface="+mn-lt"/>
                <a:ea typeface="+mn-ea"/>
                <a:cs typeface="+mn-cs"/>
              </a:defRPr>
            </a:lvl5pPr>
            <a:lvl6pPr marL="0" indent="0" algn="l" defTabSz="914400" rtl="0" eaLnBrk="1" latinLnBrk="0" hangingPunct="1">
              <a:lnSpc>
                <a:spcPct val="110000"/>
              </a:lnSpc>
              <a:spcBef>
                <a:spcPts val="0"/>
              </a:spcBef>
              <a:spcAft>
                <a:spcPts val="0"/>
              </a:spcAft>
              <a:buClr>
                <a:srgbClr val="C6C6C6"/>
              </a:buClr>
              <a:buFont typeface="Wingdings 2" panose="05020102010507070707" pitchFamily="18" charset="2"/>
              <a:buNone/>
              <a:tabLst>
                <a:tab pos="723900" algn="l"/>
              </a:tabLst>
              <a:defRPr sz="1400" kern="1200">
                <a:solidFill>
                  <a:schemeClr val="bg1"/>
                </a:solidFill>
                <a:latin typeface="+mn-lt"/>
                <a:ea typeface="+mn-ea"/>
                <a:cs typeface="+mn-cs"/>
              </a:defRPr>
            </a:lvl6pPr>
            <a:lvl7pPr marL="0" indent="0" algn="l" defTabSz="914400" rtl="0" eaLnBrk="1" latinLnBrk="0" hangingPunct="1">
              <a:lnSpc>
                <a:spcPct val="110000"/>
              </a:lnSpc>
              <a:spcBef>
                <a:spcPts val="0"/>
              </a:spcBef>
              <a:spcAft>
                <a:spcPts val="0"/>
              </a:spcAft>
              <a:buClr>
                <a:srgbClr val="706F6F"/>
              </a:buClr>
              <a:buFont typeface="Symbol" panose="05050102010706020507" pitchFamily="18" charset="2"/>
              <a:buNone/>
              <a:tabLst>
                <a:tab pos="723900" algn="l"/>
              </a:tabLst>
              <a:defRPr sz="1400" kern="1200">
                <a:solidFill>
                  <a:schemeClr val="bg1"/>
                </a:solidFill>
                <a:latin typeface="+mn-lt"/>
                <a:ea typeface="+mn-ea"/>
                <a:cs typeface="+mn-cs"/>
              </a:defRPr>
            </a:lvl7pPr>
            <a:lvl8pPr marL="0" indent="0" algn="l" defTabSz="914400" rtl="0" eaLnBrk="1" latinLnBrk="0" hangingPunct="1">
              <a:lnSpc>
                <a:spcPct val="110000"/>
              </a:lnSpc>
              <a:spcBef>
                <a:spcPts val="0"/>
              </a:spcBef>
              <a:spcAft>
                <a:spcPts val="0"/>
              </a:spcAft>
              <a:buClr>
                <a:srgbClr val="706F6F"/>
              </a:buClr>
              <a:buFont typeface="Symbol" panose="05050102010706020507" pitchFamily="18" charset="2"/>
              <a:buNone/>
              <a:tabLst>
                <a:tab pos="723900" algn="l"/>
              </a:tabLst>
              <a:defRPr sz="1400" kern="1200">
                <a:solidFill>
                  <a:schemeClr val="bg1"/>
                </a:solidFill>
                <a:latin typeface="+mn-lt"/>
                <a:ea typeface="+mn-ea"/>
                <a:cs typeface="+mn-cs"/>
              </a:defRPr>
            </a:lvl8pPr>
            <a:lvl9pPr marL="0" indent="0" algn="l" defTabSz="914400" rtl="0" eaLnBrk="1" latinLnBrk="0" hangingPunct="1">
              <a:lnSpc>
                <a:spcPct val="110000"/>
              </a:lnSpc>
              <a:spcBef>
                <a:spcPts val="0"/>
              </a:spcBef>
              <a:spcAft>
                <a:spcPts val="0"/>
              </a:spcAft>
              <a:buClr>
                <a:srgbClr val="706F6F"/>
              </a:buClr>
              <a:buFont typeface="Symbol" panose="05050102010706020507" pitchFamily="18" charset="2"/>
              <a:buNone/>
              <a:tabLst>
                <a:tab pos="723900" algn="l"/>
              </a:tabLst>
              <a:defRPr sz="1400" kern="1200">
                <a:solidFill>
                  <a:schemeClr val="bg1"/>
                </a:solidFill>
                <a:latin typeface="+mn-lt"/>
                <a:ea typeface="+mn-ea"/>
                <a:cs typeface="+mn-cs"/>
              </a:defRPr>
            </a:lvl9pPr>
          </a:lstStyle>
          <a:p>
            <a:r>
              <a:rPr lang="en-GB">
                <a:solidFill>
                  <a:schemeClr val="tx1"/>
                </a:solidFill>
              </a:rPr>
              <a:t>Katharina Rynesch</a:t>
            </a:r>
          </a:p>
          <a:p>
            <a:pPr lvl="1"/>
            <a:r>
              <a:rPr lang="en-GB">
                <a:solidFill>
                  <a:schemeClr val="tx1"/>
                </a:solidFill>
              </a:rPr>
              <a:t>Innovation Manager</a:t>
            </a:r>
          </a:p>
          <a:p>
            <a:pPr lvl="1"/>
            <a:r>
              <a:rPr lang="en-GB">
                <a:solidFill>
                  <a:schemeClr val="tx1"/>
                </a:solidFill>
              </a:rPr>
              <a:t>Technology Innovation | Corporate Technology</a:t>
            </a:r>
          </a:p>
          <a:p>
            <a:pPr lvl="1"/>
            <a:endParaRPr lang="en-GB">
              <a:solidFill>
                <a:schemeClr val="tx1"/>
              </a:solidFill>
            </a:endParaRPr>
          </a:p>
          <a:p>
            <a:pPr lvl="1"/>
            <a:r>
              <a:rPr lang="en-GB">
                <a:solidFill>
                  <a:schemeClr val="tx1"/>
                </a:solidFill>
              </a:rPr>
              <a:t>Kapsch TrafficCom AG</a:t>
            </a:r>
            <a:br>
              <a:rPr lang="en-GB">
                <a:solidFill>
                  <a:schemeClr val="tx1"/>
                </a:solidFill>
              </a:rPr>
            </a:br>
            <a:r>
              <a:rPr lang="en-GB">
                <a:solidFill>
                  <a:schemeClr val="tx1"/>
                </a:solidFill>
              </a:rPr>
              <a:t>Am </a:t>
            </a:r>
            <a:r>
              <a:rPr lang="en-GB" err="1">
                <a:solidFill>
                  <a:schemeClr val="tx1"/>
                </a:solidFill>
              </a:rPr>
              <a:t>Europlatz</a:t>
            </a:r>
            <a:r>
              <a:rPr lang="en-GB">
                <a:solidFill>
                  <a:schemeClr val="tx1"/>
                </a:solidFill>
              </a:rPr>
              <a:t> 2</a:t>
            </a:r>
          </a:p>
          <a:p>
            <a:pPr lvl="1"/>
            <a:r>
              <a:rPr lang="en-GB">
                <a:solidFill>
                  <a:schemeClr val="tx1"/>
                </a:solidFill>
              </a:rPr>
              <a:t>1120 Vienna| Vienna | Austria</a:t>
            </a:r>
            <a:br>
              <a:rPr lang="en-GB">
                <a:solidFill>
                  <a:schemeClr val="tx1"/>
                </a:solidFill>
              </a:rPr>
            </a:br>
            <a:endParaRPr lang="en-GB">
              <a:solidFill>
                <a:schemeClr val="tx1"/>
              </a:solidFill>
            </a:endParaRPr>
          </a:p>
          <a:p>
            <a:pPr lvl="1"/>
            <a:r>
              <a:rPr lang="en-GB">
                <a:solidFill>
                  <a:schemeClr val="tx1"/>
                </a:solidFill>
              </a:rPr>
              <a:t>T +43 50 8 11 2411 | M +43 664 628 2411</a:t>
            </a:r>
          </a:p>
          <a:p>
            <a:pPr lvl="1"/>
            <a:r>
              <a:rPr lang="en-GB">
                <a:solidFill>
                  <a:schemeClr val="tx1"/>
                </a:solidFill>
                <a:hlinkClick r:id="rId8">
                  <a:extLst>
                    <a:ext uri="{A12FA001-AC4F-418D-AE19-62706E023703}">
                      <ahyp:hlinkClr xmlns:ahyp="http://schemas.microsoft.com/office/drawing/2018/hyperlinkcolor" val="tx"/>
                    </a:ext>
                  </a:extLst>
                </a:hlinkClick>
              </a:rPr>
              <a:t>katharina.rynesch@kapsch.net</a:t>
            </a:r>
            <a:endParaRPr lang="en-GB">
              <a:solidFill>
                <a:schemeClr val="tx1"/>
              </a:solidFill>
            </a:endParaRPr>
          </a:p>
          <a:p>
            <a:pPr lvl="1"/>
            <a:r>
              <a:rPr lang="en-GB">
                <a:solidFill>
                  <a:schemeClr val="tx1"/>
                </a:solidFill>
              </a:rPr>
              <a:t>www.kapsch.net</a:t>
            </a:r>
          </a:p>
        </p:txBody>
      </p:sp>
    </p:spTree>
    <p:extLst>
      <p:ext uri="{BB962C8B-B14F-4D97-AF65-F5344CB8AC3E}">
        <p14:creationId xmlns:p14="http://schemas.microsoft.com/office/powerpoint/2010/main" val="2590572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a0W5bJYPTzHvWpaexz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Kapsch">
  <a:themeElements>
    <a:clrScheme name="Kapsch_Final">
      <a:dk1>
        <a:sysClr val="windowText" lastClr="000000"/>
      </a:dk1>
      <a:lt1>
        <a:sysClr val="window" lastClr="FFFFFF"/>
      </a:lt1>
      <a:dk2>
        <a:srgbClr val="FFCC00"/>
      </a:dk2>
      <a:lt2>
        <a:srgbClr val="FFE74D"/>
      </a:lt2>
      <a:accent1>
        <a:srgbClr val="0095C8"/>
      </a:accent1>
      <a:accent2>
        <a:srgbClr val="0032A0"/>
      </a:accent2>
      <a:accent3>
        <a:srgbClr val="965EC7"/>
      </a:accent3>
      <a:accent4>
        <a:srgbClr val="5D295F"/>
      </a:accent4>
      <a:accent5>
        <a:srgbClr val="00B398"/>
      </a:accent5>
      <a:accent6>
        <a:srgbClr val="007864"/>
      </a:accent6>
      <a:hlink>
        <a:srgbClr val="0095C8"/>
      </a:hlink>
      <a:folHlink>
        <a:srgbClr val="7F7F7F"/>
      </a:folHlink>
    </a:clrScheme>
    <a:fontScheme name="Kapsch">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EDEDED"/>
        </a:solidFill>
        <a:ln w="6350">
          <a:noFill/>
        </a:ln>
      </a:spPr>
      <a:bodyPr rtlCol="0" anchor="ctr"/>
      <a:lstStyle>
        <a:defPPr algn="ctr">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rgbClr val="3C3C3B"/>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gn="l">
          <a:lnSpc>
            <a:spcPct val="110000"/>
          </a:lnSpc>
          <a:spcBef>
            <a:spcPts val="600"/>
          </a:spcBef>
          <a:spcAft>
            <a:spcPts val="200"/>
          </a:spcAft>
          <a:buClr>
            <a:schemeClr val="tx2"/>
          </a:buClr>
          <a:buFont typeface="Wingdings 2" panose="05020102010507070707" pitchFamily="18" charset="2"/>
          <a:buChar char=""/>
          <a:defRPr sz="1400" dirty="0" smtClean="0"/>
        </a:defPPr>
      </a:lstStyle>
    </a:txDef>
  </a:objectDefaults>
  <a:extraClrSchemeLst/>
  <a:custClrLst>
    <a:custClr name="Grey 90%">
      <a:srgbClr val="3C3C3B"/>
    </a:custClr>
    <a:custClr name="Grey 80%">
      <a:srgbClr val="575756"/>
    </a:custClr>
    <a:custClr name="Grey 70%">
      <a:srgbClr val="706F6F"/>
    </a:custClr>
    <a:custClr name="Grey 60%">
      <a:srgbClr val="878787"/>
    </a:custClr>
    <a:custClr name="Grey 50%">
      <a:srgbClr val="9D9D9C"/>
    </a:custClr>
    <a:custClr name="Grey 40%">
      <a:srgbClr val="B2B2B2"/>
    </a:custClr>
    <a:custClr name="Grey 30%">
      <a:srgbClr val="C6C6C6"/>
    </a:custClr>
    <a:custClr name="Grey 20%">
      <a:srgbClr val="DADADA"/>
    </a:custClr>
    <a:custClr name="Grey 10%">
      <a:srgbClr val="EDEDED"/>
    </a:custClr>
    <a:custClr name="White">
      <a:srgbClr val="FFFFFF"/>
    </a:custClr>
    <a:custClr name="Green">
      <a:srgbClr val="00AB84"/>
    </a:custClr>
    <a:custClr name="Red">
      <a:srgbClr val="EF3340"/>
    </a:custClr>
  </a:custClrLst>
  <a:extLst>
    <a:ext uri="{05A4C25C-085E-4340-85A3-A5531E510DB2}">
      <thm15:themeFamily xmlns:thm15="http://schemas.microsoft.com/office/thememl/2012/main" name="Präsentation1" id="{25429AF9-C05F-4659-BC6C-D364CB0427C0}" vid="{4779472A-BDB5-4F0E-BCF6-127C43E7DD03}"/>
    </a:ext>
  </a:extLst>
</a:theme>
</file>

<file path=ppt/theme/theme2.xml><?xml version="1.0" encoding="utf-8"?>
<a:theme xmlns:a="http://schemas.openxmlformats.org/drawingml/2006/main" name="Office">
  <a:themeElements>
    <a:clrScheme name="Kapsch_Final">
      <a:dk1>
        <a:sysClr val="windowText" lastClr="000000"/>
      </a:dk1>
      <a:lt1>
        <a:sysClr val="window" lastClr="FFFFFF"/>
      </a:lt1>
      <a:dk2>
        <a:srgbClr val="FFCC00"/>
      </a:dk2>
      <a:lt2>
        <a:srgbClr val="FFE74D"/>
      </a:lt2>
      <a:accent1>
        <a:srgbClr val="0095C8"/>
      </a:accent1>
      <a:accent2>
        <a:srgbClr val="0032A0"/>
      </a:accent2>
      <a:accent3>
        <a:srgbClr val="965EC7"/>
      </a:accent3>
      <a:accent4>
        <a:srgbClr val="5D295F"/>
      </a:accent4>
      <a:accent5>
        <a:srgbClr val="00B398"/>
      </a:accent5>
      <a:accent6>
        <a:srgbClr val="007864"/>
      </a:accent6>
      <a:hlink>
        <a:srgbClr val="0095C8"/>
      </a:hlink>
      <a:folHlink>
        <a:srgbClr val="7F7F7F"/>
      </a:folHlink>
    </a:clrScheme>
    <a:fontScheme name="Kapsch">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Kapsch_Final">
      <a:dk1>
        <a:sysClr val="windowText" lastClr="000000"/>
      </a:dk1>
      <a:lt1>
        <a:sysClr val="window" lastClr="FFFFFF"/>
      </a:lt1>
      <a:dk2>
        <a:srgbClr val="FFCC00"/>
      </a:dk2>
      <a:lt2>
        <a:srgbClr val="FFE74D"/>
      </a:lt2>
      <a:accent1>
        <a:srgbClr val="0095C8"/>
      </a:accent1>
      <a:accent2>
        <a:srgbClr val="0032A0"/>
      </a:accent2>
      <a:accent3>
        <a:srgbClr val="965EC7"/>
      </a:accent3>
      <a:accent4>
        <a:srgbClr val="5D295F"/>
      </a:accent4>
      <a:accent5>
        <a:srgbClr val="00B398"/>
      </a:accent5>
      <a:accent6>
        <a:srgbClr val="007864"/>
      </a:accent6>
      <a:hlink>
        <a:srgbClr val="0095C8"/>
      </a:hlink>
      <a:folHlink>
        <a:srgbClr val="7F7F7F"/>
      </a:folHlink>
    </a:clrScheme>
    <a:fontScheme name="Kapsch">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5000"/>
              <a:lumOff val="3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110000"/>
          </a:lnSpc>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98A47983CA3646B39F75794919861F" ma:contentTypeVersion="13" ma:contentTypeDescription="Create a new document." ma:contentTypeScope="" ma:versionID="ff9be21a1da370f00a3f82b3c7e28321">
  <xsd:schema xmlns:xsd="http://www.w3.org/2001/XMLSchema" xmlns:xs="http://www.w3.org/2001/XMLSchema" xmlns:p="http://schemas.microsoft.com/office/2006/metadata/properties" xmlns:ns3="0b70efcd-b251-47cf-9a9d-6584aab44753" xmlns:ns4="32cb38e9-7ba4-4c04-82a0-ce257fc5b05c" targetNamespace="http://schemas.microsoft.com/office/2006/metadata/properties" ma:root="true" ma:fieldsID="7cd750aeb7fbe494af44c9d8774bc199" ns3:_="" ns4:_="">
    <xsd:import namespace="0b70efcd-b251-47cf-9a9d-6584aab44753"/>
    <xsd:import namespace="32cb38e9-7ba4-4c04-82a0-ce257fc5b0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70efcd-b251-47cf-9a9d-6584aab4475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cb38e9-7ba4-4c04-82a0-ce257fc5b0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736B83C-9519-4572-B59B-F7837F1F9E9B}">
  <ds:schemaRefs>
    <ds:schemaRef ds:uri="0b70efcd-b251-47cf-9a9d-6584aab44753"/>
    <ds:schemaRef ds:uri="32cb38e9-7ba4-4c04-82a0-ce257fc5b0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E6C04FE-08DC-469B-8E4B-DD072288BAB4}">
  <ds:schemaRefs>
    <ds:schemaRef ds:uri="http://schemas.microsoft.com/sharepoint/v3/contenttype/forms"/>
  </ds:schemaRefs>
</ds:datastoreItem>
</file>

<file path=customXml/itemProps3.xml><?xml version="1.0" encoding="utf-8"?>
<ds:datastoreItem xmlns:ds="http://schemas.openxmlformats.org/officeDocument/2006/customXml" ds:itemID="{323FB309-5B77-49FF-8AF3-1EEEAF4B58EC}">
  <ds:schemaRefs>
    <ds:schemaRef ds:uri="http://purl.org/dc/elements/1.1/"/>
    <ds:schemaRef ds:uri="http://schemas.microsoft.com/office/2006/metadata/properties"/>
    <ds:schemaRef ds:uri="http://schemas.microsoft.com/office/2006/documentManagement/types"/>
    <ds:schemaRef ds:uri="32cb38e9-7ba4-4c04-82a0-ce257fc5b05c"/>
    <ds:schemaRef ds:uri="0b70efcd-b251-47cf-9a9d-6584aab44753"/>
    <ds:schemaRef ds:uri="http://purl.org/dc/dcmitype/"/>
    <ds:schemaRef ds:uri="http://schemas.microsoft.com/office/infopath/2007/PartnerControl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366</Words>
  <Application>Microsoft Office PowerPoint</Application>
  <PresentationFormat>Breitbild</PresentationFormat>
  <Paragraphs>55</Paragraphs>
  <Slides>5</Slides>
  <Notes>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2" baseType="lpstr">
      <vt:lpstr>Arial</vt:lpstr>
      <vt:lpstr>Avenir Next LT Pro</vt:lpstr>
      <vt:lpstr>Open Sans Extrabold</vt:lpstr>
      <vt:lpstr>Symbol</vt:lpstr>
      <vt:lpstr>Wingdings 2</vt:lpstr>
      <vt:lpstr>Kapsch</vt:lpstr>
      <vt:lpstr>think-cell Slide</vt:lpstr>
      <vt:lpstr>Green Gantry.   </vt:lpstr>
      <vt:lpstr>Green Gantry.</vt:lpstr>
      <vt:lpstr>Why to decide for wooden infrastructure.</vt:lpstr>
      <vt:lpstr>UnSustainable road charging solution. UnUsed chance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en Gantry concept.</dc:title>
  <dc:creator>Rynesch Katharina</dc:creator>
  <cp:lastModifiedBy>Rynesch Katharina</cp:lastModifiedBy>
  <cp:revision>6</cp:revision>
  <dcterms:created xsi:type="dcterms:W3CDTF">2021-06-17T13:24:59Z</dcterms:created>
  <dcterms:modified xsi:type="dcterms:W3CDTF">2022-11-21T15:41:56Z</dcterms:modified>
</cp:coreProperties>
</file>